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305" r:id="rId5"/>
    <p:sldId id="2147377686" r:id="rId6"/>
    <p:sldId id="2147378192" r:id="rId7"/>
    <p:sldId id="838840531" r:id="rId8"/>
    <p:sldId id="261" r:id="rId9"/>
    <p:sldId id="838840750" r:id="rId10"/>
    <p:sldId id="287" r:id="rId11"/>
    <p:sldId id="2227" r:id="rId12"/>
    <p:sldId id="410" r:id="rId13"/>
    <p:sldId id="411" r:id="rId14"/>
    <p:sldId id="1568938136" r:id="rId15"/>
    <p:sldId id="1568938131" r:id="rId16"/>
    <p:sldId id="262" r:id="rId17"/>
    <p:sldId id="263" r:id="rId18"/>
    <p:sldId id="2147377991" r:id="rId19"/>
    <p:sldId id="838840670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7E"/>
    <a:srgbClr val="BADDF6"/>
    <a:srgbClr val="FFE07B"/>
    <a:srgbClr val="FDCA53"/>
    <a:srgbClr val="F28E00"/>
    <a:srgbClr val="E2F4FF"/>
    <a:srgbClr val="E3F1FC"/>
    <a:srgbClr val="E2F4FE"/>
    <a:srgbClr val="003A7B"/>
    <a:srgbClr val="D9F4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86397"/>
  </p:normalViewPr>
  <p:slideViewPr>
    <p:cSldViewPr snapToGrid="0">
      <p:cViewPr>
        <p:scale>
          <a:sx n="70" d="100"/>
          <a:sy n="70" d="100"/>
        </p:scale>
        <p:origin x="486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10387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B3B946D-61C3-2A42-A916-1A7F757BF4D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A70BF5-9870-0D42-8C66-59C1B16F8B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A8367-4F88-CD4E-9C4E-69BA7C576AE7}" type="datetimeFigureOut">
              <a:rPr lang="de-DE" smtClean="0"/>
              <a:t>06.10.202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B2A284-7D0A-1044-BB48-2E6F98BDAD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9B4DBD2-502E-1F44-AF55-F10ED8A5632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690ECD-C004-6A44-9281-2E3C652B0A55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88398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7E2BF-FD88-3041-8B91-F6E1A98F874C}" type="datetimeFigureOut">
              <a:rPr lang="de-DE" smtClean="0"/>
              <a:t>06.10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343AA1-3E8D-1341-8399-242ADDA3B4FD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01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6:notes"/>
          <p:cNvSpPr txBox="1">
            <a:spLocks noGrp="1"/>
          </p:cNvSpPr>
          <p:nvPr>
            <p:ph type="body" idx="1"/>
          </p:nvPr>
        </p:nvSpPr>
        <p:spPr>
          <a:xfrm>
            <a:off x="1023462" y="3418067"/>
            <a:ext cx="8187690" cy="279659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1" name="Google Shape;121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87675" y="887413"/>
            <a:ext cx="4259263" cy="23971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52725" y="930275"/>
            <a:ext cx="4470400" cy="25161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ust and efficiency start with a valid ID. Get product identity right with Verified by GS1.</a:t>
            </a:r>
          </a:p>
          <a:p>
            <a:endParaRPr lang="en-US" dirty="0"/>
          </a:p>
          <a:p>
            <a:r>
              <a:rPr lang="en-US" dirty="0"/>
              <a:t>Verified by GS1 is to products what an ID card or passport is to people. </a:t>
            </a:r>
          </a:p>
          <a:p>
            <a:endParaRPr lang="en-US" dirty="0"/>
          </a:p>
          <a:p>
            <a:r>
              <a:rPr lang="en-US" dirty="0"/>
              <a:t>For people, an ID card contains one ID number and 7 core attributes: ID number (or social security number in the US), first name, last name, date of birth, place of birth, nationality, gender, picture. Registries of these data allow customs to verify a person’s ID and allow him/her to enter a country or no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7603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3FD40-B4AF-4DF0-B030-FAAB1152D0CF}" type="slidenum">
              <a:rPr kumimoji="0" lang="en-GB" sz="5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37603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5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2790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3FD40-B4AF-4DF0-B030-FAAB1152D0C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248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7:notes"/>
          <p:cNvSpPr txBox="1">
            <a:spLocks noGrp="1"/>
          </p:cNvSpPr>
          <p:nvPr>
            <p:ph type="body" idx="1"/>
          </p:nvPr>
        </p:nvSpPr>
        <p:spPr>
          <a:xfrm>
            <a:off x="1023462" y="3418067"/>
            <a:ext cx="8187690" cy="279659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31" name="Google Shape;131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87675" y="887413"/>
            <a:ext cx="4259263" cy="23971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Google Shape;144;p8:notes"/>
          <p:cNvSpPr txBox="1">
            <a:spLocks noGrp="1"/>
          </p:cNvSpPr>
          <p:nvPr>
            <p:ph type="body" idx="1"/>
          </p:nvPr>
        </p:nvSpPr>
        <p:spPr>
          <a:xfrm>
            <a:off x="1023462" y="3418067"/>
            <a:ext cx="8187690" cy="2796599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45" name="Google Shape;145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87675" y="887413"/>
            <a:ext cx="4259263" cy="23971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85120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GB" sz="2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185120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303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4" Type="http://schemas.openxmlformats.org/officeDocument/2006/relationships/image" Target="../media/image1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>
            <a:extLst>
              <a:ext uri="{FF2B5EF4-FFF2-40B4-BE49-F238E27FC236}">
                <a16:creationId xmlns:a16="http://schemas.microsoft.com/office/drawing/2014/main" id="{44A5D84B-7470-EF4B-B27E-BC11320DFA28}"/>
              </a:ext>
            </a:extLst>
          </p:cNvPr>
          <p:cNvSpPr/>
          <p:nvPr userDrawn="1"/>
        </p:nvSpPr>
        <p:spPr>
          <a:xfrm>
            <a:off x="3827463" y="1484313"/>
            <a:ext cx="8004159" cy="4932362"/>
          </a:xfrm>
          <a:prstGeom prst="rect">
            <a:avLst/>
          </a:prstGeom>
          <a:solidFill>
            <a:srgbClr val="E2F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9392BBF-BD95-294E-9DD1-75C48A997C27}"/>
              </a:ext>
            </a:extLst>
          </p:cNvPr>
          <p:cNvSpPr/>
          <p:nvPr userDrawn="1"/>
        </p:nvSpPr>
        <p:spPr>
          <a:xfrm>
            <a:off x="371476" y="1916114"/>
            <a:ext cx="3455988" cy="42846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9E89A5-3BBA-F643-8610-8F6C4F7F9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3638" y="3415627"/>
            <a:ext cx="10596562" cy="1178143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87000"/>
              </a:lnSpc>
              <a:defRPr sz="4400" b="1" i="0" spc="1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PRESENTATION HEADLINE </a:t>
            </a:r>
            <a:br>
              <a:rPr lang="en-US" noProof="0" dirty="0"/>
            </a:br>
            <a:r>
              <a:rPr lang="en-US" noProof="0" dirty="0"/>
              <a:t>TWO LINES</a:t>
            </a:r>
          </a:p>
        </p:txBody>
      </p:sp>
      <p:grpSp>
        <p:nvGrpSpPr>
          <p:cNvPr id="17" name="Grafik 12">
            <a:extLst>
              <a:ext uri="{FF2B5EF4-FFF2-40B4-BE49-F238E27FC236}">
                <a16:creationId xmlns:a16="http://schemas.microsoft.com/office/drawing/2014/main" id="{803E94A4-446A-1541-8D05-C5F9E8D0CB7A}"/>
              </a:ext>
            </a:extLst>
          </p:cNvPr>
          <p:cNvGrpSpPr/>
          <p:nvPr userDrawn="1"/>
        </p:nvGrpSpPr>
        <p:grpSpPr>
          <a:xfrm>
            <a:off x="8364517" y="441325"/>
            <a:ext cx="3468861" cy="579831"/>
            <a:chOff x="8364517" y="441325"/>
            <a:chExt cx="3468861" cy="579831"/>
          </a:xfrm>
        </p:grpSpPr>
        <p:grpSp>
          <p:nvGrpSpPr>
            <p:cNvPr id="18" name="Grafik 12">
              <a:extLst>
                <a:ext uri="{FF2B5EF4-FFF2-40B4-BE49-F238E27FC236}">
                  <a16:creationId xmlns:a16="http://schemas.microsoft.com/office/drawing/2014/main" id="{B9D23A18-678E-6849-A169-014BB146A617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8FF9F71E-4A6C-0045-84A9-A9817FC69BFB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23CB73FA-F6A1-1D4A-9031-65AAEAABBC8A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0" name="Freihandform 29">
                <a:extLst>
                  <a:ext uri="{FF2B5EF4-FFF2-40B4-BE49-F238E27FC236}">
                    <a16:creationId xmlns:a16="http://schemas.microsoft.com/office/drawing/2014/main" id="{AB9CDDC1-25CA-DB41-A151-A6A48DB70958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1" name="Freihandform 30">
                <a:extLst>
                  <a:ext uri="{FF2B5EF4-FFF2-40B4-BE49-F238E27FC236}">
                    <a16:creationId xmlns:a16="http://schemas.microsoft.com/office/drawing/2014/main" id="{14986D35-218F-E241-88F7-DC3F64524152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6FAFBFD3-97AF-3840-B5EA-863403E62C11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9" name="Grafik 12">
              <a:extLst>
                <a:ext uri="{FF2B5EF4-FFF2-40B4-BE49-F238E27FC236}">
                  <a16:creationId xmlns:a16="http://schemas.microsoft.com/office/drawing/2014/main" id="{444BF9D6-B60A-3340-960E-CE77C448BF18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6578283D-D94D-3646-9386-8917107CFF0A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CA21E4BB-E8ED-3D4B-BF21-711CCBB89342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0" name="Grafik 12">
              <a:extLst>
                <a:ext uri="{FF2B5EF4-FFF2-40B4-BE49-F238E27FC236}">
                  <a16:creationId xmlns:a16="http://schemas.microsoft.com/office/drawing/2014/main" id="{E62ED868-C1A0-394D-9A06-3E73A2EEC173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B2344542-4C0C-0144-B438-AF75C0CCE837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1832D483-C6EF-444D-B535-AF8F665C29F6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F45399A5-8D2C-2F48-8493-41C02DF37841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3F031229-AA0B-1341-9D2C-F59B11C97486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905980C5-E69C-DF4A-9EEA-D484D376EB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196" y="5881521"/>
            <a:ext cx="3444267" cy="313932"/>
          </a:xfrm>
        </p:spPr>
        <p:txBody>
          <a:bodyPr anchor="b" anchorCtr="0">
            <a:spAutoFit/>
          </a:bodyPr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lace, Date</a:t>
            </a:r>
          </a:p>
        </p:txBody>
      </p:sp>
      <p:sp>
        <p:nvSpPr>
          <p:cNvPr id="36" name="Textplatzhalter 24">
            <a:extLst>
              <a:ext uri="{FF2B5EF4-FFF2-40B4-BE49-F238E27FC236}">
                <a16:creationId xmlns:a16="http://schemas.microsoft.com/office/drawing/2014/main" id="{D0179EE8-AB11-034C-9B1A-39C2D2BF69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7288" y="4961519"/>
            <a:ext cx="2717191" cy="441453"/>
          </a:xfrm>
          <a:prstGeom prst="rect">
            <a:avLst/>
          </a:prstGeom>
          <a:solidFill>
            <a:schemeClr val="accent1"/>
          </a:solidFill>
        </p:spPr>
        <p:txBody>
          <a:bodyPr wrap="none" lIns="108000" tIns="72000" rIns="108000" bIns="36000">
            <a:spAutoFit/>
          </a:bodyPr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noProof="0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828285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fik 15">
            <a:extLst>
              <a:ext uri="{FF2B5EF4-FFF2-40B4-BE49-F238E27FC236}">
                <a16:creationId xmlns:a16="http://schemas.microsoft.com/office/drawing/2014/main" id="{B196CEC4-F4AB-2C4A-B24B-022CC630387A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8" name="Grafik 15">
              <a:extLst>
                <a:ext uri="{FF2B5EF4-FFF2-40B4-BE49-F238E27FC236}">
                  <a16:creationId xmlns:a16="http://schemas.microsoft.com/office/drawing/2014/main" id="{57E81EEA-08C6-1B4F-9553-FE6C11F4ACED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6D3A7D27-15FE-634D-8DA3-0F448944AEC4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572378D0-1FC7-6845-8C63-E90819391C5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90CD9504-925E-F748-9337-6282E295F144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FEB994EA-97FC-5246-9CDD-89A551EF8D4E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AFE347A5-F6C0-F44F-98B0-DC4E1F1522A8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9" name="Grafik 15">
              <a:extLst>
                <a:ext uri="{FF2B5EF4-FFF2-40B4-BE49-F238E27FC236}">
                  <a16:creationId xmlns:a16="http://schemas.microsoft.com/office/drawing/2014/main" id="{9783D0DF-0FD1-3540-8D9B-475495C355F2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9976344D-F6DB-044F-AC5A-3DD0200CA8D4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3EA81C31-B4DB-9149-BCEE-E8A17F9F8C7F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0" name="Grafik 15">
              <a:extLst>
                <a:ext uri="{FF2B5EF4-FFF2-40B4-BE49-F238E27FC236}">
                  <a16:creationId xmlns:a16="http://schemas.microsoft.com/office/drawing/2014/main" id="{24AC3D07-DBC5-9A48-B967-600002B08107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2" name="Freihandform 11">
                <a:extLst>
                  <a:ext uri="{FF2B5EF4-FFF2-40B4-BE49-F238E27FC236}">
                    <a16:creationId xmlns:a16="http://schemas.microsoft.com/office/drawing/2014/main" id="{E939BF1A-564C-3C44-82B8-67A848DC01FA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3" name="Freihandform 12">
                <a:extLst>
                  <a:ext uri="{FF2B5EF4-FFF2-40B4-BE49-F238E27FC236}">
                    <a16:creationId xmlns:a16="http://schemas.microsoft.com/office/drawing/2014/main" id="{E26471C9-B863-7C49-B3B0-D14DB39D4B1C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4" name="Freihandform 13">
                <a:extLst>
                  <a:ext uri="{FF2B5EF4-FFF2-40B4-BE49-F238E27FC236}">
                    <a16:creationId xmlns:a16="http://schemas.microsoft.com/office/drawing/2014/main" id="{00FCE541-DF28-5245-9318-FE478DF7CFAD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4A5831DD-DB83-AD4F-82F5-819C88E1EE1B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09CF1B2-F0DC-A04E-9D34-96D581C6E9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2963" y="1484313"/>
            <a:ext cx="11437937" cy="471646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75D8B5AF-A2F0-5241-A4BC-4E2AB2D670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E43D7627-145B-A040-9293-ED93A16BD9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14D986A-F7A2-9B42-9179-AE78E818DF2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9E4242-417A-0748-8D52-0F93CAA8E9D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3E0C8F-A855-4E4C-940C-A8FED45D9F04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5806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fik 15">
            <a:extLst>
              <a:ext uri="{FF2B5EF4-FFF2-40B4-BE49-F238E27FC236}">
                <a16:creationId xmlns:a16="http://schemas.microsoft.com/office/drawing/2014/main" id="{B196CEC4-F4AB-2C4A-B24B-022CC630387A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8" name="Grafik 15">
              <a:extLst>
                <a:ext uri="{FF2B5EF4-FFF2-40B4-BE49-F238E27FC236}">
                  <a16:creationId xmlns:a16="http://schemas.microsoft.com/office/drawing/2014/main" id="{57E81EEA-08C6-1B4F-9553-FE6C11F4ACED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6D3A7D27-15FE-634D-8DA3-0F448944AEC4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572378D0-1FC7-6845-8C63-E90819391C5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90CD9504-925E-F748-9337-6282E295F144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FEB994EA-97FC-5246-9CDD-89A551EF8D4E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AFE347A5-F6C0-F44F-98B0-DC4E1F1522A8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9" name="Grafik 15">
              <a:extLst>
                <a:ext uri="{FF2B5EF4-FFF2-40B4-BE49-F238E27FC236}">
                  <a16:creationId xmlns:a16="http://schemas.microsoft.com/office/drawing/2014/main" id="{9783D0DF-0FD1-3540-8D9B-475495C355F2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9976344D-F6DB-044F-AC5A-3DD0200CA8D4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3EA81C31-B4DB-9149-BCEE-E8A17F9F8C7F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0" name="Grafik 15">
              <a:extLst>
                <a:ext uri="{FF2B5EF4-FFF2-40B4-BE49-F238E27FC236}">
                  <a16:creationId xmlns:a16="http://schemas.microsoft.com/office/drawing/2014/main" id="{24AC3D07-DBC5-9A48-B967-600002B08107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2" name="Freihandform 11">
                <a:extLst>
                  <a:ext uri="{FF2B5EF4-FFF2-40B4-BE49-F238E27FC236}">
                    <a16:creationId xmlns:a16="http://schemas.microsoft.com/office/drawing/2014/main" id="{E939BF1A-564C-3C44-82B8-67A848DC01FA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3" name="Freihandform 12">
                <a:extLst>
                  <a:ext uri="{FF2B5EF4-FFF2-40B4-BE49-F238E27FC236}">
                    <a16:creationId xmlns:a16="http://schemas.microsoft.com/office/drawing/2014/main" id="{E26471C9-B863-7C49-B3B0-D14DB39D4B1C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4" name="Freihandform 13">
                <a:extLst>
                  <a:ext uri="{FF2B5EF4-FFF2-40B4-BE49-F238E27FC236}">
                    <a16:creationId xmlns:a16="http://schemas.microsoft.com/office/drawing/2014/main" id="{00FCE541-DF28-5245-9318-FE478DF7CFAD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4A5831DD-DB83-AD4F-82F5-819C88E1EE1B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3" name="Titel 1">
            <a:extLst>
              <a:ext uri="{FF2B5EF4-FFF2-40B4-BE49-F238E27FC236}">
                <a16:creationId xmlns:a16="http://schemas.microsoft.com/office/drawing/2014/main" id="{190DAC15-2A8C-5240-82D7-501D21B2EF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E82F3B34-F3C9-BA49-A3B4-43C8C402788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775A71-17AE-4240-92F2-5C8C673FAD3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de-DE" spc="-5" dirty="0"/>
              <a:t>Date</a:t>
            </a:r>
            <a:endParaRPr lang="en-US" spc="-5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9B742D-97EB-8E41-9AFA-344DC52003A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3F7F15-DC48-3D48-95BE-26D97B9CB2A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40125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532CE0-D232-D347-8A08-6E38404C4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7433D2-8B3D-574E-8759-178E73413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E70C08-DC90-6B4B-AD84-9C40E0D7C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922933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92">
            <a:extLst>
              <a:ext uri="{FF2B5EF4-FFF2-40B4-BE49-F238E27FC236}">
                <a16:creationId xmlns:a16="http://schemas.microsoft.com/office/drawing/2014/main" id="{B8EA02D3-B969-9B43-8FAE-98EAD8D9D43E}"/>
              </a:ext>
            </a:extLst>
          </p:cNvPr>
          <p:cNvSpPr/>
          <p:nvPr userDrawn="1"/>
        </p:nvSpPr>
        <p:spPr>
          <a:xfrm>
            <a:off x="-1" y="0"/>
            <a:ext cx="3827463" cy="6195318"/>
          </a:xfrm>
          <a:custGeom>
            <a:avLst/>
            <a:gdLst/>
            <a:ahLst/>
            <a:cxnLst/>
            <a:rect l="l" t="t" r="r" b="b"/>
            <a:pathLst>
              <a:path w="4584700" h="2969260">
                <a:moveTo>
                  <a:pt x="0" y="2969018"/>
                </a:moveTo>
                <a:lnTo>
                  <a:pt x="4584534" y="2969018"/>
                </a:lnTo>
                <a:lnTo>
                  <a:pt x="4584534" y="0"/>
                </a:lnTo>
                <a:lnTo>
                  <a:pt x="0" y="0"/>
                </a:lnTo>
                <a:lnTo>
                  <a:pt x="0" y="2969018"/>
                </a:lnTo>
                <a:close/>
              </a:path>
            </a:pathLst>
          </a:custGeom>
          <a:solidFill>
            <a:srgbClr val="E2F4FF"/>
          </a:solid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grpSp>
        <p:nvGrpSpPr>
          <p:cNvPr id="11" name="Grafik 15">
            <a:extLst>
              <a:ext uri="{FF2B5EF4-FFF2-40B4-BE49-F238E27FC236}">
                <a16:creationId xmlns:a16="http://schemas.microsoft.com/office/drawing/2014/main" id="{9D86F801-996C-AB49-9C9B-2250BCB00B31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2" name="Grafik 15">
              <a:extLst>
                <a:ext uri="{FF2B5EF4-FFF2-40B4-BE49-F238E27FC236}">
                  <a16:creationId xmlns:a16="http://schemas.microsoft.com/office/drawing/2014/main" id="{98CF44F7-EE4E-D444-8A56-B82715D24F23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17536AFD-A8E7-2148-B5FC-3E76B2F19840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6B5F89C4-D22B-C546-9DD4-8E119F1DFD78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2A6AE70A-8B17-1C42-A8BA-7B33663ABE1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877EB0B7-85DD-2045-886D-87FF71D05BAC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7720BAA3-F9BE-6E41-8AA4-C47FB163760D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3" name="Grafik 15">
              <a:extLst>
                <a:ext uri="{FF2B5EF4-FFF2-40B4-BE49-F238E27FC236}">
                  <a16:creationId xmlns:a16="http://schemas.microsoft.com/office/drawing/2014/main" id="{E7B86A7E-3EEE-464B-A1D4-A485F39CC8C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E5D5F9BF-6F87-2948-96F7-2F2D5C20C138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305463D4-E884-FE44-9729-61FEB28226AA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4" name="Grafik 15">
              <a:extLst>
                <a:ext uri="{FF2B5EF4-FFF2-40B4-BE49-F238E27FC236}">
                  <a16:creationId xmlns:a16="http://schemas.microsoft.com/office/drawing/2014/main" id="{E6DFBE4C-1835-5141-8B1F-AA244AD06733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D12C6A14-D313-3A43-8411-00FA87F67762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AF10C099-3693-E345-84D5-2020BEEF5B4C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BC21183B-E8C1-8D4E-8574-91A2C660FF5A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952B029F-BC55-1A4A-BDD5-994E05D2CC60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8" name="Textplatzhalter 25">
            <a:extLst>
              <a:ext uri="{FF2B5EF4-FFF2-40B4-BE49-F238E27FC236}">
                <a16:creationId xmlns:a16="http://schemas.microsoft.com/office/drawing/2014/main" id="{EC77D8F5-C60A-A049-9808-651BD010E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5" y="1484313"/>
            <a:ext cx="3329758" cy="450002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9" name="Textplatzhalter 25">
            <a:extLst>
              <a:ext uri="{FF2B5EF4-FFF2-40B4-BE49-F238E27FC236}">
                <a16:creationId xmlns:a16="http://schemas.microsoft.com/office/drawing/2014/main" id="{DB0E8700-FFC4-E047-BB7D-B468BBBFE3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65418" y="1484313"/>
            <a:ext cx="7855106" cy="450002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0E42739-08F1-2F4A-8E1B-87425EFFC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A924A4AA-DBD5-8A46-B3E4-3995904D5E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4BC8F88-A384-3546-906D-59A2B571D85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de-DE" spc="-5" dirty="0"/>
              <a:t>Date</a:t>
            </a:r>
            <a:endParaRPr lang="en-US" spc="-5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7C79B78-4A3D-AC49-902F-998DD4E3E60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22BB92-3EC4-0F4E-BE3F-8D12BC147C0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95842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fik 15">
            <a:extLst>
              <a:ext uri="{FF2B5EF4-FFF2-40B4-BE49-F238E27FC236}">
                <a16:creationId xmlns:a16="http://schemas.microsoft.com/office/drawing/2014/main" id="{9D86F801-996C-AB49-9C9B-2250BCB00B31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2" name="Grafik 15">
              <a:extLst>
                <a:ext uri="{FF2B5EF4-FFF2-40B4-BE49-F238E27FC236}">
                  <a16:creationId xmlns:a16="http://schemas.microsoft.com/office/drawing/2014/main" id="{98CF44F7-EE4E-D444-8A56-B82715D24F23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17536AFD-A8E7-2148-B5FC-3E76B2F19840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6B5F89C4-D22B-C546-9DD4-8E119F1DFD78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2A6AE70A-8B17-1C42-A8BA-7B33663ABE1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877EB0B7-85DD-2045-886D-87FF71D05BAC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7720BAA3-F9BE-6E41-8AA4-C47FB163760D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3" name="Grafik 15">
              <a:extLst>
                <a:ext uri="{FF2B5EF4-FFF2-40B4-BE49-F238E27FC236}">
                  <a16:creationId xmlns:a16="http://schemas.microsoft.com/office/drawing/2014/main" id="{E7B86A7E-3EEE-464B-A1D4-A485F39CC8C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E5D5F9BF-6F87-2948-96F7-2F2D5C20C138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305463D4-E884-FE44-9729-61FEB28226AA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4" name="Grafik 15">
              <a:extLst>
                <a:ext uri="{FF2B5EF4-FFF2-40B4-BE49-F238E27FC236}">
                  <a16:creationId xmlns:a16="http://schemas.microsoft.com/office/drawing/2014/main" id="{E6DFBE4C-1835-5141-8B1F-AA244AD06733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D12C6A14-D313-3A43-8411-00FA87F67762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AF10C099-3693-E345-84D5-2020BEEF5B4C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BC21183B-E8C1-8D4E-8574-91A2C660FF5A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952B029F-BC55-1A4A-BDD5-994E05D2CC60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8" name="Textplatzhalter 25">
            <a:extLst>
              <a:ext uri="{FF2B5EF4-FFF2-40B4-BE49-F238E27FC236}">
                <a16:creationId xmlns:a16="http://schemas.microsoft.com/office/drawing/2014/main" id="{EC77D8F5-C60A-A049-9808-651BD010E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1474" y="1484313"/>
            <a:ext cx="5563333" cy="471646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0E42739-08F1-2F4A-8E1B-87425EFFC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A924A4AA-DBD5-8A46-B3E4-3995904D5E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29" name="Bildplatzhalter 5">
            <a:extLst>
              <a:ext uri="{FF2B5EF4-FFF2-40B4-BE49-F238E27FC236}">
                <a16:creationId xmlns:a16="http://schemas.microsoft.com/office/drawing/2014/main" id="{BFAF744C-27C0-6E4F-AE8A-671D9E9A4F46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6257925" y="1484313"/>
            <a:ext cx="5562600" cy="471646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noProof="0" dirty="0"/>
              <a:t>Imag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636B4E9-4EB6-A54B-A6DF-72BA0A13446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D6D3CA-2A33-294F-9726-17070289C4A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9604084-2619-DA40-8ABC-A74CCF716A7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699369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fik 15">
            <a:extLst>
              <a:ext uri="{FF2B5EF4-FFF2-40B4-BE49-F238E27FC236}">
                <a16:creationId xmlns:a16="http://schemas.microsoft.com/office/drawing/2014/main" id="{9D86F801-996C-AB49-9C9B-2250BCB00B31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2" name="Grafik 15">
              <a:extLst>
                <a:ext uri="{FF2B5EF4-FFF2-40B4-BE49-F238E27FC236}">
                  <a16:creationId xmlns:a16="http://schemas.microsoft.com/office/drawing/2014/main" id="{98CF44F7-EE4E-D444-8A56-B82715D24F23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17536AFD-A8E7-2148-B5FC-3E76B2F19840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6B5F89C4-D22B-C546-9DD4-8E119F1DFD78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2A6AE70A-8B17-1C42-A8BA-7B33663ABE1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877EB0B7-85DD-2045-886D-87FF71D05BAC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7720BAA3-F9BE-6E41-8AA4-C47FB163760D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3" name="Grafik 15">
              <a:extLst>
                <a:ext uri="{FF2B5EF4-FFF2-40B4-BE49-F238E27FC236}">
                  <a16:creationId xmlns:a16="http://schemas.microsoft.com/office/drawing/2014/main" id="{E7B86A7E-3EEE-464B-A1D4-A485F39CC8C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E5D5F9BF-6F87-2948-96F7-2F2D5C20C138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305463D4-E884-FE44-9729-61FEB28226AA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4" name="Grafik 15">
              <a:extLst>
                <a:ext uri="{FF2B5EF4-FFF2-40B4-BE49-F238E27FC236}">
                  <a16:creationId xmlns:a16="http://schemas.microsoft.com/office/drawing/2014/main" id="{E6DFBE4C-1835-5141-8B1F-AA244AD06733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D12C6A14-D313-3A43-8411-00FA87F67762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AF10C099-3693-E345-84D5-2020BEEF5B4C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BC21183B-E8C1-8D4E-8574-91A2C660FF5A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952B029F-BC55-1A4A-BDD5-994E05D2CC60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8" name="Textplatzhalter 25">
            <a:extLst>
              <a:ext uri="{FF2B5EF4-FFF2-40B4-BE49-F238E27FC236}">
                <a16:creationId xmlns:a16="http://schemas.microsoft.com/office/drawing/2014/main" id="{EC77D8F5-C60A-A049-9808-651BD010E4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57192" y="1484313"/>
            <a:ext cx="5563333" cy="471646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B0E42739-08F1-2F4A-8E1B-87425EFFCF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A924A4AA-DBD5-8A46-B3E4-3995904D5E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1" name="Bildplatzhalter 5">
            <a:extLst>
              <a:ext uri="{FF2B5EF4-FFF2-40B4-BE49-F238E27FC236}">
                <a16:creationId xmlns:a16="http://schemas.microsoft.com/office/drawing/2014/main" id="{76472C3A-A28A-1F43-B7E8-8FAABFED6E77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71475" y="1484313"/>
            <a:ext cx="5562600" cy="471646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Imag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4D4190-C2F6-1845-8B24-5DB831BB63B4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4E6C993-F59B-DC4C-BE21-F65A204A15B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D94C775-F203-0240-9924-643238B090F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18279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afik 15">
            <a:extLst>
              <a:ext uri="{FF2B5EF4-FFF2-40B4-BE49-F238E27FC236}">
                <a16:creationId xmlns:a16="http://schemas.microsoft.com/office/drawing/2014/main" id="{BE757963-68E7-A24A-88EC-5420981F7C9B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29" name="Grafik 15">
              <a:extLst>
                <a:ext uri="{FF2B5EF4-FFF2-40B4-BE49-F238E27FC236}">
                  <a16:creationId xmlns:a16="http://schemas.microsoft.com/office/drawing/2014/main" id="{43413FD3-71BF-2C46-BCBA-656AECE2F2C3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E4BFC27C-B84A-C14D-BE4F-07D0B1DC27AC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7579B6B3-35E0-8E4E-95EE-AC6EDEF8AC0A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F50BD780-924F-0145-BB7D-45078C6AE0B3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56B3C952-8282-D34A-9407-B73D84DF08E6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77260ED1-7D74-384F-ACC2-17EBAA7F2E72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0" name="Grafik 15">
              <a:extLst>
                <a:ext uri="{FF2B5EF4-FFF2-40B4-BE49-F238E27FC236}">
                  <a16:creationId xmlns:a16="http://schemas.microsoft.com/office/drawing/2014/main" id="{2B3A75C8-98B3-0F42-B921-1D0E1BA1D76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36" name="Freihandform 35">
                <a:extLst>
                  <a:ext uri="{FF2B5EF4-FFF2-40B4-BE49-F238E27FC236}">
                    <a16:creationId xmlns:a16="http://schemas.microsoft.com/office/drawing/2014/main" id="{6D9C941A-8147-9E44-B184-F189FB158F49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C15E51E7-1BDD-B343-80D9-FD8807A3D119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1" name="Grafik 15">
              <a:extLst>
                <a:ext uri="{FF2B5EF4-FFF2-40B4-BE49-F238E27FC236}">
                  <a16:creationId xmlns:a16="http://schemas.microsoft.com/office/drawing/2014/main" id="{973D5A0E-6357-9D47-B00E-FDE08A2DDF22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8A579800-DFAF-EA48-BEBE-6E126B69E5E4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3" name="Freihandform 32">
                <a:extLst>
                  <a:ext uri="{FF2B5EF4-FFF2-40B4-BE49-F238E27FC236}">
                    <a16:creationId xmlns:a16="http://schemas.microsoft.com/office/drawing/2014/main" id="{F1ED0318-7DEB-A343-8205-AA7196658807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4" name="Freihandform 33">
                <a:extLst>
                  <a:ext uri="{FF2B5EF4-FFF2-40B4-BE49-F238E27FC236}">
                    <a16:creationId xmlns:a16="http://schemas.microsoft.com/office/drawing/2014/main" id="{57F6E736-F371-7B4A-9282-C5B72046C0B7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5" name="Freihandform 34">
                <a:extLst>
                  <a:ext uri="{FF2B5EF4-FFF2-40B4-BE49-F238E27FC236}">
                    <a16:creationId xmlns:a16="http://schemas.microsoft.com/office/drawing/2014/main" id="{2C1D06A0-A532-BD43-86E4-DFF6F0AE1FF9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44" name="Titel 1">
            <a:extLst>
              <a:ext uri="{FF2B5EF4-FFF2-40B4-BE49-F238E27FC236}">
                <a16:creationId xmlns:a16="http://schemas.microsoft.com/office/drawing/2014/main" id="{0ABCBE7A-6C4E-F74E-A6E1-33C3EF38FD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5" name="Textplatzhalter 9">
            <a:extLst>
              <a:ext uri="{FF2B5EF4-FFF2-40B4-BE49-F238E27FC236}">
                <a16:creationId xmlns:a16="http://schemas.microsoft.com/office/drawing/2014/main" id="{993DF536-2931-E545-BC59-9061CBAA69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51" name="Textplatzhalter 38">
            <a:extLst>
              <a:ext uri="{FF2B5EF4-FFF2-40B4-BE49-F238E27FC236}">
                <a16:creationId xmlns:a16="http://schemas.microsoft.com/office/drawing/2014/main" id="{3BC9DD15-5C91-7646-BCA1-F32A5BF106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3992" y="2224327"/>
            <a:ext cx="2517265" cy="3385074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2" name="Textplatzhalter 38">
            <a:extLst>
              <a:ext uri="{FF2B5EF4-FFF2-40B4-BE49-F238E27FC236}">
                <a16:creationId xmlns:a16="http://schemas.microsoft.com/office/drawing/2014/main" id="{9E16EEB2-35F7-4046-909E-B4CEB867A02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80742" y="2224327"/>
            <a:ext cx="2517265" cy="3385074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3" name="Textplatzhalter 38">
            <a:extLst>
              <a:ext uri="{FF2B5EF4-FFF2-40B4-BE49-F238E27FC236}">
                <a16:creationId xmlns:a16="http://schemas.microsoft.com/office/drawing/2014/main" id="{86FFC2AC-7917-6742-B85D-6A1B1A6394E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7367" y="2224327"/>
            <a:ext cx="2517265" cy="3385074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58A245-128C-AA40-B1C8-6DF66BB32875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95C2B2C-3BE4-4144-8542-77F72F4B96F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D1B3B5-DF2A-3D46-9B32-4FE4265ACA2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26" name="Textplatzhalter 30">
            <a:extLst>
              <a:ext uri="{FF2B5EF4-FFF2-40B4-BE49-F238E27FC236}">
                <a16:creationId xmlns:a16="http://schemas.microsoft.com/office/drawing/2014/main" id="{05B5183A-0CC6-9347-9CDB-C58693DA1C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1757327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27" name="Textplatzhalter 30">
            <a:extLst>
              <a:ext uri="{FF2B5EF4-FFF2-40B4-BE49-F238E27FC236}">
                <a16:creationId xmlns:a16="http://schemas.microsoft.com/office/drawing/2014/main" id="{89E2A97F-70E1-E749-A3C2-2E84CA7CA9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3271" y="1757327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43" name="Textplatzhalter 30">
            <a:extLst>
              <a:ext uri="{FF2B5EF4-FFF2-40B4-BE49-F238E27FC236}">
                <a16:creationId xmlns:a16="http://schemas.microsoft.com/office/drawing/2014/main" id="{ABEAB549-A890-B244-A146-30866348E5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959501" y="1757327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124373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afik 15">
            <a:extLst>
              <a:ext uri="{FF2B5EF4-FFF2-40B4-BE49-F238E27FC236}">
                <a16:creationId xmlns:a16="http://schemas.microsoft.com/office/drawing/2014/main" id="{3B986B48-803C-544C-9CAF-F530BF72B8C9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4" name="Grafik 15">
              <a:extLst>
                <a:ext uri="{FF2B5EF4-FFF2-40B4-BE49-F238E27FC236}">
                  <a16:creationId xmlns:a16="http://schemas.microsoft.com/office/drawing/2014/main" id="{0A49BC6E-F302-D144-8225-4BC52651D60F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68DD9C21-0940-2941-AAE9-86B533F369B8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F1563ADE-B896-6B47-A6B3-B4A1A5C7CA48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B3A8F130-E358-0E4F-820A-8611154CB83D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864B7C1E-6198-414A-967B-B0AA9ECB7F3B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28F28BF4-1B02-4644-A857-27C424AB1DE0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7" name="Grafik 15">
              <a:extLst>
                <a:ext uri="{FF2B5EF4-FFF2-40B4-BE49-F238E27FC236}">
                  <a16:creationId xmlns:a16="http://schemas.microsoft.com/office/drawing/2014/main" id="{9017C255-E379-654E-89D7-D2BF77C9A98C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0F3AF842-0CAB-DB4A-BE9E-CF096D6E27A3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0FC589DF-1C41-9144-9CA1-C19BB594DB87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8" name="Grafik 15">
              <a:extLst>
                <a:ext uri="{FF2B5EF4-FFF2-40B4-BE49-F238E27FC236}">
                  <a16:creationId xmlns:a16="http://schemas.microsoft.com/office/drawing/2014/main" id="{D795E2E0-96E8-3241-8065-ABC1237A9414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A0315136-B972-424B-B809-4EE7D2F8A8FB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35D52FB3-2B86-DB43-B5B0-3D1A3E4B47A2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5642E70F-1DE9-9342-A0A3-BD53F09F93D7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E5B7DB7C-0518-C548-9F0A-D513982B1BBE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1" name="Titel 1">
            <a:extLst>
              <a:ext uri="{FF2B5EF4-FFF2-40B4-BE49-F238E27FC236}">
                <a16:creationId xmlns:a16="http://schemas.microsoft.com/office/drawing/2014/main" id="{7723CC47-CF1C-4341-B2F1-BD13A6C747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5" name="Textplatzhalter 9">
            <a:extLst>
              <a:ext uri="{FF2B5EF4-FFF2-40B4-BE49-F238E27FC236}">
                <a16:creationId xmlns:a16="http://schemas.microsoft.com/office/drawing/2014/main" id="{25426F61-5F7A-4B49-99FA-5E54FF258D8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CDCC24-4919-3E4F-8B15-85EA9C586FBC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011A1BD-65CF-7448-B12B-5F697A0EF1DF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63B83DE-CC14-ED4B-B8A2-DDAD9BA8B8F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32" name="Textplatzhalter 38">
            <a:extLst>
              <a:ext uri="{FF2B5EF4-FFF2-40B4-BE49-F238E27FC236}">
                <a16:creationId xmlns:a16="http://schemas.microsoft.com/office/drawing/2014/main" id="{B2B5E100-B282-9746-B26D-92198EB2116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3992" y="2383113"/>
            <a:ext cx="2517265" cy="3060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3" name="Textplatzhalter 38">
            <a:extLst>
              <a:ext uri="{FF2B5EF4-FFF2-40B4-BE49-F238E27FC236}">
                <a16:creationId xmlns:a16="http://schemas.microsoft.com/office/drawing/2014/main" id="{8F4D7A8C-97D4-BF49-865E-83F74C18B8D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80742" y="2383113"/>
            <a:ext cx="2517265" cy="3060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platzhalter 38">
            <a:extLst>
              <a:ext uri="{FF2B5EF4-FFF2-40B4-BE49-F238E27FC236}">
                <a16:creationId xmlns:a16="http://schemas.microsoft.com/office/drawing/2014/main" id="{6000647D-16FC-434D-94DA-D025AFAA93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7367" y="2383113"/>
            <a:ext cx="2517265" cy="3060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Textplatzhalter 30">
            <a:extLst>
              <a:ext uri="{FF2B5EF4-FFF2-40B4-BE49-F238E27FC236}">
                <a16:creationId xmlns:a16="http://schemas.microsoft.com/office/drawing/2014/main" id="{0105E49B-DA7A-A741-9B40-6FBFB5F834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1916113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39" name="Textplatzhalter 30">
            <a:extLst>
              <a:ext uri="{FF2B5EF4-FFF2-40B4-BE49-F238E27FC236}">
                <a16:creationId xmlns:a16="http://schemas.microsoft.com/office/drawing/2014/main" id="{47F6E173-47FA-024E-83F9-40D3844436A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33271" y="1916113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40" name="Textplatzhalter 30">
            <a:extLst>
              <a:ext uri="{FF2B5EF4-FFF2-40B4-BE49-F238E27FC236}">
                <a16:creationId xmlns:a16="http://schemas.microsoft.com/office/drawing/2014/main" id="{ACB2AB63-C735-5F44-A2EC-3BCEEFAC172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959501" y="1916113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7738340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afik 15">
            <a:extLst>
              <a:ext uri="{FF2B5EF4-FFF2-40B4-BE49-F238E27FC236}">
                <a16:creationId xmlns:a16="http://schemas.microsoft.com/office/drawing/2014/main" id="{F60E3BDB-0DDB-BA40-B4D9-FA31BEE14A02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26" name="Grafik 15">
              <a:extLst>
                <a:ext uri="{FF2B5EF4-FFF2-40B4-BE49-F238E27FC236}">
                  <a16:creationId xmlns:a16="http://schemas.microsoft.com/office/drawing/2014/main" id="{73DB44CC-BCFE-AA49-8ED3-F1A061EB7827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5" name="Freihandform 34">
                <a:extLst>
                  <a:ext uri="{FF2B5EF4-FFF2-40B4-BE49-F238E27FC236}">
                    <a16:creationId xmlns:a16="http://schemas.microsoft.com/office/drawing/2014/main" id="{D8B3012F-F974-2448-A27C-9AA3B789A65E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6" name="Freihandform 35">
                <a:extLst>
                  <a:ext uri="{FF2B5EF4-FFF2-40B4-BE49-F238E27FC236}">
                    <a16:creationId xmlns:a16="http://schemas.microsoft.com/office/drawing/2014/main" id="{4BF73FCE-65A1-4A4F-A5DA-3A2ABB37F1E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CCA828E3-C39C-FD4D-B9FF-8BAE00BAD8FF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5B60155F-503C-E041-A141-9DBB2F05AC69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EF3B3771-51AC-AE4D-964F-2A2F754A4708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27" name="Grafik 15">
              <a:extLst>
                <a:ext uri="{FF2B5EF4-FFF2-40B4-BE49-F238E27FC236}">
                  <a16:creationId xmlns:a16="http://schemas.microsoft.com/office/drawing/2014/main" id="{FA19C08A-9C2E-8042-B2C7-B13D32D37F9E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33" name="Freihandform 32">
                <a:extLst>
                  <a:ext uri="{FF2B5EF4-FFF2-40B4-BE49-F238E27FC236}">
                    <a16:creationId xmlns:a16="http://schemas.microsoft.com/office/drawing/2014/main" id="{0C87283E-17BD-684C-8F91-6B1FDC5B5162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4" name="Freihandform 33">
                <a:extLst>
                  <a:ext uri="{FF2B5EF4-FFF2-40B4-BE49-F238E27FC236}">
                    <a16:creationId xmlns:a16="http://schemas.microsoft.com/office/drawing/2014/main" id="{11C211F8-BF21-BF46-8F6F-8A639877BB93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28" name="Grafik 15">
              <a:extLst>
                <a:ext uri="{FF2B5EF4-FFF2-40B4-BE49-F238E27FC236}">
                  <a16:creationId xmlns:a16="http://schemas.microsoft.com/office/drawing/2014/main" id="{909C80AD-93C2-124F-ADBB-455AAE910072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B7599061-01EA-1B41-8398-5374B1C07563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0" name="Freihandform 29">
                <a:extLst>
                  <a:ext uri="{FF2B5EF4-FFF2-40B4-BE49-F238E27FC236}">
                    <a16:creationId xmlns:a16="http://schemas.microsoft.com/office/drawing/2014/main" id="{DB2C78ED-6667-304C-BA9A-D9014F559EE9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1" name="Freihandform 30">
                <a:extLst>
                  <a:ext uri="{FF2B5EF4-FFF2-40B4-BE49-F238E27FC236}">
                    <a16:creationId xmlns:a16="http://schemas.microsoft.com/office/drawing/2014/main" id="{F4A7EF83-BAE1-0F40-8757-06A2F9F27B7E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F297C542-8663-B943-B9D5-598A09188B60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42" name="Titel 1">
            <a:extLst>
              <a:ext uri="{FF2B5EF4-FFF2-40B4-BE49-F238E27FC236}">
                <a16:creationId xmlns:a16="http://schemas.microsoft.com/office/drawing/2014/main" id="{7AA19A6B-07F0-1847-A00E-40B82F960D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CB89C2F4-FA85-E644-B89E-52BD091C86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16C5705E-FC33-874A-A22E-746BD911A86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378877" y="4566848"/>
            <a:ext cx="1965686" cy="896028"/>
          </a:xfrm>
        </p:spPr>
        <p:txBody>
          <a:bodyPr wrap="square" anchor="ctr" anchorCtr="0">
            <a:noAutofit/>
          </a:bodyPr>
          <a:lstStyle>
            <a:lvl1pPr algn="ctr">
              <a:defRPr sz="6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44" name="Textplatzhalter 7">
            <a:extLst>
              <a:ext uri="{FF2B5EF4-FFF2-40B4-BE49-F238E27FC236}">
                <a16:creationId xmlns:a16="http://schemas.microsoft.com/office/drawing/2014/main" id="{5A0CBD22-DDA3-4343-851B-D182E9B6211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91448" y="2220146"/>
            <a:ext cx="1965686" cy="896028"/>
          </a:xfrm>
        </p:spPr>
        <p:txBody>
          <a:bodyPr wrap="square" anchor="ctr" anchorCtr="0">
            <a:noAutofit/>
          </a:bodyPr>
          <a:lstStyle>
            <a:lvl1pPr algn="ctr">
              <a:defRPr sz="6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45" name="Textplatzhalter 7">
            <a:extLst>
              <a:ext uri="{FF2B5EF4-FFF2-40B4-BE49-F238E27FC236}">
                <a16:creationId xmlns:a16="http://schemas.microsoft.com/office/drawing/2014/main" id="{7167DF5B-E7AF-8F47-AA29-6ED76F7EA61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618403" y="4021178"/>
            <a:ext cx="1755888" cy="681118"/>
          </a:xfrm>
        </p:spPr>
        <p:txBody>
          <a:bodyPr wrap="square" anchor="ctr" anchorCtr="0">
            <a:noAutofit/>
          </a:bodyPr>
          <a:lstStyle>
            <a:lvl1pPr algn="ctr">
              <a:defRPr sz="3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+XYZ</a:t>
            </a:r>
          </a:p>
        </p:txBody>
      </p:sp>
      <p:sp>
        <p:nvSpPr>
          <p:cNvPr id="48" name="Textplatzhalter 25">
            <a:extLst>
              <a:ext uri="{FF2B5EF4-FFF2-40B4-BE49-F238E27FC236}">
                <a16:creationId xmlns:a16="http://schemas.microsoft.com/office/drawing/2014/main" id="{D768983B-3ABB-514F-B4D4-E0D82DC61B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90768" y="1484313"/>
            <a:ext cx="3329758" cy="471646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C776AA7-ABFC-E64D-9684-E15222E9DBD2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B736856-667F-0841-B215-C5746D4EB0AA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977D07D7-C937-5741-A9CD-E1C7DBCB2CA8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68318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Inhaltsplatzhalter 8">
            <a:extLst>
              <a:ext uri="{FF2B5EF4-FFF2-40B4-BE49-F238E27FC236}">
                <a16:creationId xmlns:a16="http://schemas.microsoft.com/office/drawing/2014/main" id="{65186D76-AE99-7746-9E10-BF01DFEFA12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67403" y="2024513"/>
            <a:ext cx="3248025" cy="157334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24" name="Inhaltsplatzhalter 8">
            <a:extLst>
              <a:ext uri="{FF2B5EF4-FFF2-40B4-BE49-F238E27FC236}">
                <a16:creationId xmlns:a16="http://schemas.microsoft.com/office/drawing/2014/main" id="{AC3100C3-1495-F448-8EE5-993CAA05FF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64538" y="2024513"/>
            <a:ext cx="3248025" cy="157334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30" name="Inhaltsplatzhalter 8">
            <a:extLst>
              <a:ext uri="{FF2B5EF4-FFF2-40B4-BE49-F238E27FC236}">
                <a16:creationId xmlns:a16="http://schemas.microsoft.com/office/drawing/2014/main" id="{B26C91D1-915C-5A4D-80E8-797799A0280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1100" y="4402997"/>
            <a:ext cx="3248025" cy="157334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31" name="Inhaltsplatzhalter 8">
            <a:extLst>
              <a:ext uri="{FF2B5EF4-FFF2-40B4-BE49-F238E27FC236}">
                <a16:creationId xmlns:a16="http://schemas.microsoft.com/office/drawing/2014/main" id="{7B8C4BC0-C0CD-4D4E-85FD-1DB44787E9B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77028" y="4402997"/>
            <a:ext cx="3248025" cy="157334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32" name="Inhaltsplatzhalter 8">
            <a:extLst>
              <a:ext uri="{FF2B5EF4-FFF2-40B4-BE49-F238E27FC236}">
                <a16:creationId xmlns:a16="http://schemas.microsoft.com/office/drawing/2014/main" id="{17BC4EDC-6D3A-B84D-8CA0-C204AC6CA6C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374163" y="4402997"/>
            <a:ext cx="3248025" cy="157334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grpSp>
        <p:nvGrpSpPr>
          <p:cNvPr id="33" name="Grafik 15">
            <a:extLst>
              <a:ext uri="{FF2B5EF4-FFF2-40B4-BE49-F238E27FC236}">
                <a16:creationId xmlns:a16="http://schemas.microsoft.com/office/drawing/2014/main" id="{19BA6E52-0971-2446-BE79-DFEB7B899CF2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34" name="Grafik 15">
              <a:extLst>
                <a:ext uri="{FF2B5EF4-FFF2-40B4-BE49-F238E27FC236}">
                  <a16:creationId xmlns:a16="http://schemas.microsoft.com/office/drawing/2014/main" id="{CF2BBD5B-9CCC-B84F-AFE1-B8C6EA3734BD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43" name="Freihandform 42">
                <a:extLst>
                  <a:ext uri="{FF2B5EF4-FFF2-40B4-BE49-F238E27FC236}">
                    <a16:creationId xmlns:a16="http://schemas.microsoft.com/office/drawing/2014/main" id="{D2B32DFD-DC75-4044-92F1-722B363EFB29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4" name="Freihandform 43">
                <a:extLst>
                  <a:ext uri="{FF2B5EF4-FFF2-40B4-BE49-F238E27FC236}">
                    <a16:creationId xmlns:a16="http://schemas.microsoft.com/office/drawing/2014/main" id="{DE673BE5-9924-1043-8F0D-D7AEC2B8BC43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5" name="Freihandform 44">
                <a:extLst>
                  <a:ext uri="{FF2B5EF4-FFF2-40B4-BE49-F238E27FC236}">
                    <a16:creationId xmlns:a16="http://schemas.microsoft.com/office/drawing/2014/main" id="{5F412D11-1B34-5041-A7BB-93F19078B354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6" name="Freihandform 45">
                <a:extLst>
                  <a:ext uri="{FF2B5EF4-FFF2-40B4-BE49-F238E27FC236}">
                    <a16:creationId xmlns:a16="http://schemas.microsoft.com/office/drawing/2014/main" id="{314D35ED-3D0C-4746-A5CA-305785D859D2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7" name="Freihandform 46">
                <a:extLst>
                  <a:ext uri="{FF2B5EF4-FFF2-40B4-BE49-F238E27FC236}">
                    <a16:creationId xmlns:a16="http://schemas.microsoft.com/office/drawing/2014/main" id="{BC22B796-2B81-F842-9742-6E0F37410C16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5" name="Grafik 15">
              <a:extLst>
                <a:ext uri="{FF2B5EF4-FFF2-40B4-BE49-F238E27FC236}">
                  <a16:creationId xmlns:a16="http://schemas.microsoft.com/office/drawing/2014/main" id="{4D3903E9-B680-7A47-A214-12E69718AEBB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23BFD8FB-9AC7-304B-937F-24DE6F646191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28ADBD39-30D0-E742-960C-7A15D330D145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6" name="Grafik 15">
              <a:extLst>
                <a:ext uri="{FF2B5EF4-FFF2-40B4-BE49-F238E27FC236}">
                  <a16:creationId xmlns:a16="http://schemas.microsoft.com/office/drawing/2014/main" id="{F6C0E921-24AD-7448-AC1E-30075417717A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A5DE8A3F-68DC-B14A-9BB4-8D5DC20CF33D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0FF43A89-2E02-5C44-9001-F0A8150D3E59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7A2D442F-902A-144C-8DCE-9386521D84FC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3521F20B-539B-6C4D-B9AE-F5CB24AD623C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49D07396-9220-5344-A491-7A4F61909F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8" name="Textplatzhalter 9">
            <a:extLst>
              <a:ext uri="{FF2B5EF4-FFF2-40B4-BE49-F238E27FC236}">
                <a16:creationId xmlns:a16="http://schemas.microsoft.com/office/drawing/2014/main" id="{4C038AC9-A26C-1D40-BE96-1C1911511B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51" name="Inhaltsplatzhalter 8">
            <a:extLst>
              <a:ext uri="{FF2B5EF4-FFF2-40B4-BE49-F238E27FC236}">
                <a16:creationId xmlns:a16="http://schemas.microsoft.com/office/drawing/2014/main" id="{C4AA7D89-9EA6-574A-8C93-B53EDE576E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83195" y="2024513"/>
            <a:ext cx="3248025" cy="157334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D674B56-62D9-864A-9BA5-A307726CC0D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83303F-8EBD-5444-BA6E-45BDAD03CD7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A86AB61-714A-D34A-96DD-06EE1D73C48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29" name="Textplatzhalter 30">
            <a:extLst>
              <a:ext uri="{FF2B5EF4-FFF2-40B4-BE49-F238E27FC236}">
                <a16:creationId xmlns:a16="http://schemas.microsoft.com/office/drawing/2014/main" id="{3134535C-007D-E641-BE96-D62CB217EBA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43773" y="1539355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49" name="Textplatzhalter 30">
            <a:extLst>
              <a:ext uri="{FF2B5EF4-FFF2-40B4-BE49-F238E27FC236}">
                <a16:creationId xmlns:a16="http://schemas.microsoft.com/office/drawing/2014/main" id="{D275D6B8-86B0-1143-B860-978563CE2FF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22728" y="1539355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0" name="Textplatzhalter 30">
            <a:extLst>
              <a:ext uri="{FF2B5EF4-FFF2-40B4-BE49-F238E27FC236}">
                <a16:creationId xmlns:a16="http://schemas.microsoft.com/office/drawing/2014/main" id="{CF2115ED-204F-DF4A-B970-C44AFCADF7D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11442" y="1539355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6" name="Textplatzhalter 30">
            <a:extLst>
              <a:ext uri="{FF2B5EF4-FFF2-40B4-BE49-F238E27FC236}">
                <a16:creationId xmlns:a16="http://schemas.microsoft.com/office/drawing/2014/main" id="{F96E0247-BFC9-0D43-A6A8-DE1770EEF65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43773" y="3915060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7" name="Textplatzhalter 30">
            <a:extLst>
              <a:ext uri="{FF2B5EF4-FFF2-40B4-BE49-F238E27FC236}">
                <a16:creationId xmlns:a16="http://schemas.microsoft.com/office/drawing/2014/main" id="{03F68D89-2DAF-B142-A8AD-598E3432481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22728" y="3915060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8" name="Textplatzhalter 30">
            <a:extLst>
              <a:ext uri="{FF2B5EF4-FFF2-40B4-BE49-F238E27FC236}">
                <a16:creationId xmlns:a16="http://schemas.microsoft.com/office/drawing/2014/main" id="{B630A105-042C-A44B-BB18-DDB86BB46C1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11442" y="3915060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2693633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>
            <a:extLst>
              <a:ext uri="{FF2B5EF4-FFF2-40B4-BE49-F238E27FC236}">
                <a16:creationId xmlns:a16="http://schemas.microsoft.com/office/drawing/2014/main" id="{44A5D84B-7470-EF4B-B27E-BC11320DFA28}"/>
              </a:ext>
            </a:extLst>
          </p:cNvPr>
          <p:cNvSpPr/>
          <p:nvPr userDrawn="1"/>
        </p:nvSpPr>
        <p:spPr>
          <a:xfrm>
            <a:off x="3827463" y="1484313"/>
            <a:ext cx="8004159" cy="4932362"/>
          </a:xfrm>
          <a:prstGeom prst="rect">
            <a:avLst/>
          </a:prstGeom>
          <a:solidFill>
            <a:srgbClr val="E2F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9392BBF-BD95-294E-9DD1-75C48A997C27}"/>
              </a:ext>
            </a:extLst>
          </p:cNvPr>
          <p:cNvSpPr/>
          <p:nvPr userDrawn="1"/>
        </p:nvSpPr>
        <p:spPr>
          <a:xfrm>
            <a:off x="371476" y="1916114"/>
            <a:ext cx="3455988" cy="42846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29E89A5-3BBA-F643-8610-8F6C4F7F9D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3638" y="2826555"/>
            <a:ext cx="10596562" cy="1767215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87000"/>
              </a:lnSpc>
              <a:defRPr sz="4400" b="1" i="0" spc="1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PRESENTATION HEADLINE SIGNIFICANTLY LONGER THAN THE OTHER HEADLINE</a:t>
            </a:r>
          </a:p>
        </p:txBody>
      </p:sp>
      <p:grpSp>
        <p:nvGrpSpPr>
          <p:cNvPr id="17" name="Grafik 12">
            <a:extLst>
              <a:ext uri="{FF2B5EF4-FFF2-40B4-BE49-F238E27FC236}">
                <a16:creationId xmlns:a16="http://schemas.microsoft.com/office/drawing/2014/main" id="{803E94A4-446A-1541-8D05-C5F9E8D0CB7A}"/>
              </a:ext>
            </a:extLst>
          </p:cNvPr>
          <p:cNvGrpSpPr/>
          <p:nvPr userDrawn="1"/>
        </p:nvGrpSpPr>
        <p:grpSpPr>
          <a:xfrm>
            <a:off x="8364517" y="441325"/>
            <a:ext cx="3468861" cy="579831"/>
            <a:chOff x="8364517" y="441325"/>
            <a:chExt cx="3468861" cy="579831"/>
          </a:xfrm>
        </p:grpSpPr>
        <p:grpSp>
          <p:nvGrpSpPr>
            <p:cNvPr id="18" name="Grafik 12">
              <a:extLst>
                <a:ext uri="{FF2B5EF4-FFF2-40B4-BE49-F238E27FC236}">
                  <a16:creationId xmlns:a16="http://schemas.microsoft.com/office/drawing/2014/main" id="{B9D23A18-678E-6849-A169-014BB146A617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8FF9F71E-4A6C-0045-84A9-A9817FC69BFB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23CB73FA-F6A1-1D4A-9031-65AAEAABBC8A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0" name="Freihandform 29">
                <a:extLst>
                  <a:ext uri="{FF2B5EF4-FFF2-40B4-BE49-F238E27FC236}">
                    <a16:creationId xmlns:a16="http://schemas.microsoft.com/office/drawing/2014/main" id="{AB9CDDC1-25CA-DB41-A151-A6A48DB70958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1" name="Freihandform 30">
                <a:extLst>
                  <a:ext uri="{FF2B5EF4-FFF2-40B4-BE49-F238E27FC236}">
                    <a16:creationId xmlns:a16="http://schemas.microsoft.com/office/drawing/2014/main" id="{14986D35-218F-E241-88F7-DC3F64524152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6FAFBFD3-97AF-3840-B5EA-863403E62C11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9" name="Grafik 12">
              <a:extLst>
                <a:ext uri="{FF2B5EF4-FFF2-40B4-BE49-F238E27FC236}">
                  <a16:creationId xmlns:a16="http://schemas.microsoft.com/office/drawing/2014/main" id="{444BF9D6-B60A-3340-960E-CE77C448BF18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6578283D-D94D-3646-9386-8917107CFF0A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CA21E4BB-E8ED-3D4B-BF21-711CCBB89342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0" name="Grafik 12">
              <a:extLst>
                <a:ext uri="{FF2B5EF4-FFF2-40B4-BE49-F238E27FC236}">
                  <a16:creationId xmlns:a16="http://schemas.microsoft.com/office/drawing/2014/main" id="{E62ED868-C1A0-394D-9A06-3E73A2EEC173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B2344542-4C0C-0144-B438-AF75C0CCE837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1832D483-C6EF-444D-B535-AF8F665C29F6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F45399A5-8D2C-2F48-8493-41C02DF37841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3F031229-AA0B-1341-9D2C-F59B11C97486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905980C5-E69C-DF4A-9EEA-D484D376EB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196" y="5881521"/>
            <a:ext cx="3444267" cy="313932"/>
          </a:xfrm>
        </p:spPr>
        <p:txBody>
          <a:bodyPr anchor="b" anchorCtr="0">
            <a:spAutoFit/>
          </a:bodyPr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lace, Date</a:t>
            </a:r>
          </a:p>
        </p:txBody>
      </p:sp>
      <p:sp>
        <p:nvSpPr>
          <p:cNvPr id="36" name="Textplatzhalter 24">
            <a:extLst>
              <a:ext uri="{FF2B5EF4-FFF2-40B4-BE49-F238E27FC236}">
                <a16:creationId xmlns:a16="http://schemas.microsoft.com/office/drawing/2014/main" id="{D0179EE8-AB11-034C-9B1A-39C2D2BF69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7288" y="4961519"/>
            <a:ext cx="2717191" cy="441453"/>
          </a:xfrm>
          <a:prstGeom prst="rect">
            <a:avLst/>
          </a:prstGeom>
          <a:solidFill>
            <a:schemeClr val="accent1"/>
          </a:solidFill>
        </p:spPr>
        <p:txBody>
          <a:bodyPr wrap="none" lIns="108000" tIns="72000" rIns="108000" bIns="36000">
            <a:spAutoFit/>
          </a:bodyPr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noProof="0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81642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 userDrawn="1">
          <p15:clr>
            <a:srgbClr val="FBAE40"/>
          </p15:clr>
        </p15:guide>
        <p15:guide id="11" orient="horz" pos="216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Inhaltsplatzhalter 8">
            <a:extLst>
              <a:ext uri="{FF2B5EF4-FFF2-40B4-BE49-F238E27FC236}">
                <a16:creationId xmlns:a16="http://schemas.microsoft.com/office/drawing/2014/main" id="{65186D76-AE99-7746-9E10-BF01DFEFA12C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67403" y="1980202"/>
            <a:ext cx="3248025" cy="14487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24" name="Inhaltsplatzhalter 8">
            <a:extLst>
              <a:ext uri="{FF2B5EF4-FFF2-40B4-BE49-F238E27FC236}">
                <a16:creationId xmlns:a16="http://schemas.microsoft.com/office/drawing/2014/main" id="{AC3100C3-1495-F448-8EE5-993CAA05FF2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64538" y="1980202"/>
            <a:ext cx="3248025" cy="14487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30" name="Inhaltsplatzhalter 8">
            <a:extLst>
              <a:ext uri="{FF2B5EF4-FFF2-40B4-BE49-F238E27FC236}">
                <a16:creationId xmlns:a16="http://schemas.microsoft.com/office/drawing/2014/main" id="{B26C91D1-915C-5A4D-80E8-797799A0280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81100" y="4363770"/>
            <a:ext cx="3248025" cy="155295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Inhaltsplatzhalter 8">
            <a:extLst>
              <a:ext uri="{FF2B5EF4-FFF2-40B4-BE49-F238E27FC236}">
                <a16:creationId xmlns:a16="http://schemas.microsoft.com/office/drawing/2014/main" id="{7B8C4BC0-C0CD-4D4E-85FD-1DB44787E9B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377028" y="4363770"/>
            <a:ext cx="3248025" cy="155295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32" name="Inhaltsplatzhalter 8">
            <a:extLst>
              <a:ext uri="{FF2B5EF4-FFF2-40B4-BE49-F238E27FC236}">
                <a16:creationId xmlns:a16="http://schemas.microsoft.com/office/drawing/2014/main" id="{17BC4EDC-6D3A-B84D-8CA0-C204AC6CA6C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374163" y="4363770"/>
            <a:ext cx="3248025" cy="155295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grpSp>
        <p:nvGrpSpPr>
          <p:cNvPr id="33" name="Grafik 15">
            <a:extLst>
              <a:ext uri="{FF2B5EF4-FFF2-40B4-BE49-F238E27FC236}">
                <a16:creationId xmlns:a16="http://schemas.microsoft.com/office/drawing/2014/main" id="{19BA6E52-0971-2446-BE79-DFEB7B899CF2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34" name="Grafik 15">
              <a:extLst>
                <a:ext uri="{FF2B5EF4-FFF2-40B4-BE49-F238E27FC236}">
                  <a16:creationId xmlns:a16="http://schemas.microsoft.com/office/drawing/2014/main" id="{CF2BBD5B-9CCC-B84F-AFE1-B8C6EA3734BD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43" name="Freihandform 42">
                <a:extLst>
                  <a:ext uri="{FF2B5EF4-FFF2-40B4-BE49-F238E27FC236}">
                    <a16:creationId xmlns:a16="http://schemas.microsoft.com/office/drawing/2014/main" id="{D2B32DFD-DC75-4044-92F1-722B363EFB29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4" name="Freihandform 43">
                <a:extLst>
                  <a:ext uri="{FF2B5EF4-FFF2-40B4-BE49-F238E27FC236}">
                    <a16:creationId xmlns:a16="http://schemas.microsoft.com/office/drawing/2014/main" id="{DE673BE5-9924-1043-8F0D-D7AEC2B8BC43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5" name="Freihandform 44">
                <a:extLst>
                  <a:ext uri="{FF2B5EF4-FFF2-40B4-BE49-F238E27FC236}">
                    <a16:creationId xmlns:a16="http://schemas.microsoft.com/office/drawing/2014/main" id="{5F412D11-1B34-5041-A7BB-93F19078B354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6" name="Freihandform 45">
                <a:extLst>
                  <a:ext uri="{FF2B5EF4-FFF2-40B4-BE49-F238E27FC236}">
                    <a16:creationId xmlns:a16="http://schemas.microsoft.com/office/drawing/2014/main" id="{314D35ED-3D0C-4746-A5CA-305785D859D2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7" name="Freihandform 46">
                <a:extLst>
                  <a:ext uri="{FF2B5EF4-FFF2-40B4-BE49-F238E27FC236}">
                    <a16:creationId xmlns:a16="http://schemas.microsoft.com/office/drawing/2014/main" id="{BC22B796-2B81-F842-9742-6E0F37410C16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5" name="Grafik 15">
              <a:extLst>
                <a:ext uri="{FF2B5EF4-FFF2-40B4-BE49-F238E27FC236}">
                  <a16:creationId xmlns:a16="http://schemas.microsoft.com/office/drawing/2014/main" id="{4D3903E9-B680-7A47-A214-12E69718AEBB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23BFD8FB-9AC7-304B-937F-24DE6F646191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28ADBD39-30D0-E742-960C-7A15D330D145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6" name="Grafik 15">
              <a:extLst>
                <a:ext uri="{FF2B5EF4-FFF2-40B4-BE49-F238E27FC236}">
                  <a16:creationId xmlns:a16="http://schemas.microsoft.com/office/drawing/2014/main" id="{F6C0E921-24AD-7448-AC1E-30075417717A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A5DE8A3F-68DC-B14A-9BB4-8D5DC20CF33D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0FF43A89-2E02-5C44-9001-F0A8150D3E59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7A2D442F-902A-144C-8DCE-9386521D84FC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3521F20B-539B-6C4D-B9AE-F5CB24AD623C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9" name="Titel 1">
            <a:extLst>
              <a:ext uri="{FF2B5EF4-FFF2-40B4-BE49-F238E27FC236}">
                <a16:creationId xmlns:a16="http://schemas.microsoft.com/office/drawing/2014/main" id="{A21C9B4F-4ECE-BA4A-B4B3-0B083A9B5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8" name="Textplatzhalter 9">
            <a:extLst>
              <a:ext uri="{FF2B5EF4-FFF2-40B4-BE49-F238E27FC236}">
                <a16:creationId xmlns:a16="http://schemas.microsoft.com/office/drawing/2014/main" id="{B9FC79C1-204C-344E-9231-A4E7811CC6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50" name="Inhaltsplatzhalter 8">
            <a:extLst>
              <a:ext uri="{FF2B5EF4-FFF2-40B4-BE49-F238E27FC236}">
                <a16:creationId xmlns:a16="http://schemas.microsoft.com/office/drawing/2014/main" id="{44613060-FD61-D149-91FC-841977C78C5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83195" y="1980255"/>
            <a:ext cx="3248025" cy="14487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EFAC8F8-E834-014C-AF2E-16A32424966B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FD566E1-CB57-BA49-AE66-9637B6E528D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49AD32C-9760-B144-868C-EA39BE09D1F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49" name="Textplatzhalter 30">
            <a:extLst>
              <a:ext uri="{FF2B5EF4-FFF2-40B4-BE49-F238E27FC236}">
                <a16:creationId xmlns:a16="http://schemas.microsoft.com/office/drawing/2014/main" id="{6B489EDD-8EDD-FA4F-982B-A922747F33B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1475" y="1539355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1" name="Textplatzhalter 30">
            <a:extLst>
              <a:ext uri="{FF2B5EF4-FFF2-40B4-BE49-F238E27FC236}">
                <a16:creationId xmlns:a16="http://schemas.microsoft.com/office/drawing/2014/main" id="{8635552B-C187-774D-A761-4FEFFC3DE47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77028" y="1539355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2" name="Textplatzhalter 30">
            <a:extLst>
              <a:ext uri="{FF2B5EF4-FFF2-40B4-BE49-F238E27FC236}">
                <a16:creationId xmlns:a16="http://schemas.microsoft.com/office/drawing/2014/main" id="{05927B01-502D-DF4A-BC9D-4AAA51A8CD9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74163" y="1539355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3" name="Textplatzhalter 30">
            <a:extLst>
              <a:ext uri="{FF2B5EF4-FFF2-40B4-BE49-F238E27FC236}">
                <a16:creationId xmlns:a16="http://schemas.microsoft.com/office/drawing/2014/main" id="{8D5A3DF6-386A-104A-99B9-3AF8D8E3B19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1475" y="3915060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4" name="Textplatzhalter 30">
            <a:extLst>
              <a:ext uri="{FF2B5EF4-FFF2-40B4-BE49-F238E27FC236}">
                <a16:creationId xmlns:a16="http://schemas.microsoft.com/office/drawing/2014/main" id="{6B24AA14-B91F-934A-A990-2F2A0065EC5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377028" y="3915060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55" name="Textplatzhalter 30">
            <a:extLst>
              <a:ext uri="{FF2B5EF4-FFF2-40B4-BE49-F238E27FC236}">
                <a16:creationId xmlns:a16="http://schemas.microsoft.com/office/drawing/2014/main" id="{461A4EC9-1E13-4C4C-8ED0-BE31B650FFE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374163" y="3915060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230768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CFF962AD-B812-9D4F-A994-BA42114687A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05427" y="1484313"/>
            <a:ext cx="5724525" cy="42529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</a:lstStyle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n-US" sz="2800" b="1" spc="10" noProof="0" dirty="0">
                <a:solidFill>
                  <a:srgbClr val="003B7D"/>
                </a:solidFill>
                <a:latin typeface="+mn-lt"/>
                <a:cs typeface="Verdana"/>
              </a:rPr>
              <a:t>Conclusion in long line with or without graphic or long text</a:t>
            </a:r>
            <a:endParaRPr lang="en-US" sz="2800" noProof="0" dirty="0">
              <a:latin typeface="+mn-lt"/>
              <a:cs typeface="Verdana"/>
            </a:endParaRPr>
          </a:p>
        </p:txBody>
      </p:sp>
      <p:grpSp>
        <p:nvGrpSpPr>
          <p:cNvPr id="12" name="Grafik 15">
            <a:extLst>
              <a:ext uri="{FF2B5EF4-FFF2-40B4-BE49-F238E27FC236}">
                <a16:creationId xmlns:a16="http://schemas.microsoft.com/office/drawing/2014/main" id="{2945AF51-B4C8-4E4E-BBE1-E2F8E186A6A1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3" name="Grafik 15">
              <a:extLst>
                <a:ext uri="{FF2B5EF4-FFF2-40B4-BE49-F238E27FC236}">
                  <a16:creationId xmlns:a16="http://schemas.microsoft.com/office/drawing/2014/main" id="{827F8479-1A1E-0445-A43A-01FC4FC64FD5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C08694EB-1E6C-AA4B-A7F2-CC1432588A53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1023DDFE-4C76-244A-B806-53C2C1547C50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CB3C7CF9-FBBB-DA48-A9E3-52E94B70CF5D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E1334C13-A77A-3745-A03A-E0EFAD43447C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631A90BC-E8FE-2A47-857D-2CF2A0E11183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4" name="Grafik 15">
              <a:extLst>
                <a:ext uri="{FF2B5EF4-FFF2-40B4-BE49-F238E27FC236}">
                  <a16:creationId xmlns:a16="http://schemas.microsoft.com/office/drawing/2014/main" id="{5F73F843-6EB2-6D40-A1C7-36E95D96F09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68395E15-589B-9D4B-AA38-787B1255330E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194A1F99-E721-9242-B428-DDD8839F7757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5" name="Grafik 15">
              <a:extLst>
                <a:ext uri="{FF2B5EF4-FFF2-40B4-BE49-F238E27FC236}">
                  <a16:creationId xmlns:a16="http://schemas.microsoft.com/office/drawing/2014/main" id="{BE93A691-D902-E742-A0C8-92DF9E0A479E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04645859-9716-C949-8EF2-5912DA8B7C87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7E5FBD55-266E-2447-8234-881911A8F1BE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DB8F9AA2-478B-4843-8201-6FBADED89C02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9E78EAEF-ECEB-2741-B456-3A43D9DBA447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8" name="Titel 1">
            <a:extLst>
              <a:ext uri="{FF2B5EF4-FFF2-40B4-BE49-F238E27FC236}">
                <a16:creationId xmlns:a16="http://schemas.microsoft.com/office/drawing/2014/main" id="{72AF95BF-4C65-C14E-AA64-04E4A4B293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CE3ED2AB-25F0-F04F-B289-327AAF0A92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1" name="Textplatzhalter 22">
            <a:extLst>
              <a:ext uri="{FF2B5EF4-FFF2-40B4-BE49-F238E27FC236}">
                <a16:creationId xmlns:a16="http://schemas.microsoft.com/office/drawing/2014/main" id="{99885B79-6075-5F4A-B546-D497D1CF37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3195" y="2223199"/>
            <a:ext cx="4421280" cy="3301947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11F2B8A-009D-6640-9D63-4129A034B21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25D162-11EA-854D-B1BB-2D5D75844D8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1B6B5B-68BD-2D47-B536-A466455BD6F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27" name="Textplatzhalter 30">
            <a:extLst>
              <a:ext uri="{FF2B5EF4-FFF2-40B4-BE49-F238E27FC236}">
                <a16:creationId xmlns:a16="http://schemas.microsoft.com/office/drawing/2014/main" id="{7FAB7CA6-C640-6847-BA9A-F97A2BC935D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1475" y="1756199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055552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74755F4E-915C-434D-9F06-511D93C8D43F}"/>
              </a:ext>
            </a:extLst>
          </p:cNvPr>
          <p:cNvGrpSpPr/>
          <p:nvPr userDrawn="1"/>
        </p:nvGrpSpPr>
        <p:grpSpPr>
          <a:xfrm>
            <a:off x="1856651" y="1678626"/>
            <a:ext cx="1234781" cy="2376612"/>
            <a:chOff x="1893907" y="1574990"/>
            <a:chExt cx="1234781" cy="2376612"/>
          </a:xfrm>
        </p:grpSpPr>
        <p:sp>
          <p:nvSpPr>
            <p:cNvPr id="36" name="object 43">
              <a:extLst>
                <a:ext uri="{FF2B5EF4-FFF2-40B4-BE49-F238E27FC236}">
                  <a16:creationId xmlns:a16="http://schemas.microsoft.com/office/drawing/2014/main" id="{9DF21567-2BF6-B34F-80D0-18052A3379FF}"/>
                </a:ext>
              </a:extLst>
            </p:cNvPr>
            <p:cNvSpPr/>
            <p:nvPr/>
          </p:nvSpPr>
          <p:spPr>
            <a:xfrm>
              <a:off x="1893908" y="1574990"/>
              <a:ext cx="5715" cy="5715"/>
            </a:xfrm>
            <a:custGeom>
              <a:avLst/>
              <a:gdLst/>
              <a:ahLst/>
              <a:cxnLst/>
              <a:rect l="l" t="t" r="r" b="b"/>
              <a:pathLst>
                <a:path w="5714" h="5715">
                  <a:moveTo>
                    <a:pt x="5105" y="0"/>
                  </a:moveTo>
                  <a:lnTo>
                    <a:pt x="0" y="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37" name="object 44">
              <a:extLst>
                <a:ext uri="{FF2B5EF4-FFF2-40B4-BE49-F238E27FC236}">
                  <a16:creationId xmlns:a16="http://schemas.microsoft.com/office/drawing/2014/main" id="{2829B02F-5AF3-E549-A1A3-F8D3FD1820AD}"/>
                </a:ext>
              </a:extLst>
            </p:cNvPr>
            <p:cNvSpPr/>
            <p:nvPr/>
          </p:nvSpPr>
          <p:spPr>
            <a:xfrm>
              <a:off x="1893908" y="1574990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104" y="0"/>
                  </a:moveTo>
                  <a:lnTo>
                    <a:pt x="0" y="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38" name="object 45">
              <a:extLst>
                <a:ext uri="{FF2B5EF4-FFF2-40B4-BE49-F238E27FC236}">
                  <a16:creationId xmlns:a16="http://schemas.microsoft.com/office/drawing/2014/main" id="{A90EB352-9D23-1B44-BB75-5F62A91EF83A}"/>
                </a:ext>
              </a:extLst>
            </p:cNvPr>
            <p:cNvSpPr/>
            <p:nvPr/>
          </p:nvSpPr>
          <p:spPr>
            <a:xfrm>
              <a:off x="1893908" y="1574990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19">
                  <a:moveTo>
                    <a:pt x="185106" y="0"/>
                  </a:moveTo>
                  <a:lnTo>
                    <a:pt x="0" y="185106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39" name="object 46">
              <a:extLst>
                <a:ext uri="{FF2B5EF4-FFF2-40B4-BE49-F238E27FC236}">
                  <a16:creationId xmlns:a16="http://schemas.microsoft.com/office/drawing/2014/main" id="{1BFB8547-5C0E-2540-AA09-D51AB5E883EA}"/>
                </a:ext>
              </a:extLst>
            </p:cNvPr>
            <p:cNvSpPr/>
            <p:nvPr/>
          </p:nvSpPr>
          <p:spPr>
            <a:xfrm>
              <a:off x="1893908" y="1574990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105" y="0"/>
                  </a:moveTo>
                  <a:lnTo>
                    <a:pt x="0" y="2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0" name="object 47">
              <a:extLst>
                <a:ext uri="{FF2B5EF4-FFF2-40B4-BE49-F238E27FC236}">
                  <a16:creationId xmlns:a16="http://schemas.microsoft.com/office/drawing/2014/main" id="{77F7B7C0-ACE1-0E49-9DC4-79AA01FE51B6}"/>
                </a:ext>
              </a:extLst>
            </p:cNvPr>
            <p:cNvSpPr/>
            <p:nvPr/>
          </p:nvSpPr>
          <p:spPr>
            <a:xfrm>
              <a:off x="1893908" y="1574990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105" y="0"/>
                  </a:moveTo>
                  <a:lnTo>
                    <a:pt x="0" y="36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1" name="object 48">
              <a:extLst>
                <a:ext uri="{FF2B5EF4-FFF2-40B4-BE49-F238E27FC236}">
                  <a16:creationId xmlns:a16="http://schemas.microsoft.com/office/drawing/2014/main" id="{4CEA8824-24BA-784A-87B6-DFAE42411408}"/>
                </a:ext>
              </a:extLst>
            </p:cNvPr>
            <p:cNvSpPr/>
            <p:nvPr/>
          </p:nvSpPr>
          <p:spPr>
            <a:xfrm>
              <a:off x="1893908" y="1574990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4">
                  <a:moveTo>
                    <a:pt x="455105" y="0"/>
                  </a:moveTo>
                  <a:lnTo>
                    <a:pt x="0" y="45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2" name="object 49">
              <a:extLst>
                <a:ext uri="{FF2B5EF4-FFF2-40B4-BE49-F238E27FC236}">
                  <a16:creationId xmlns:a16="http://schemas.microsoft.com/office/drawing/2014/main" id="{2D5349AB-1800-2A40-8A00-C35B11358CB8}"/>
                </a:ext>
              </a:extLst>
            </p:cNvPr>
            <p:cNvSpPr/>
            <p:nvPr/>
          </p:nvSpPr>
          <p:spPr>
            <a:xfrm>
              <a:off x="1893908" y="1574990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105" y="0"/>
                  </a:moveTo>
                  <a:lnTo>
                    <a:pt x="0" y="54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3" name="object 50">
              <a:extLst>
                <a:ext uri="{FF2B5EF4-FFF2-40B4-BE49-F238E27FC236}">
                  <a16:creationId xmlns:a16="http://schemas.microsoft.com/office/drawing/2014/main" id="{4DE569EB-C800-8548-BDD3-0BE721B97B21}"/>
                </a:ext>
              </a:extLst>
            </p:cNvPr>
            <p:cNvSpPr/>
            <p:nvPr/>
          </p:nvSpPr>
          <p:spPr>
            <a:xfrm>
              <a:off x="1893908" y="1574990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105" y="0"/>
                  </a:moveTo>
                  <a:lnTo>
                    <a:pt x="0" y="63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4" name="object 51">
              <a:extLst>
                <a:ext uri="{FF2B5EF4-FFF2-40B4-BE49-F238E27FC236}">
                  <a16:creationId xmlns:a16="http://schemas.microsoft.com/office/drawing/2014/main" id="{3319D27A-89C1-6B4F-87E3-CAAFFFF6AF4D}"/>
                </a:ext>
              </a:extLst>
            </p:cNvPr>
            <p:cNvSpPr/>
            <p:nvPr/>
          </p:nvSpPr>
          <p:spPr>
            <a:xfrm>
              <a:off x="1893908" y="1574990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69">
                  <a:moveTo>
                    <a:pt x="725105" y="0"/>
                  </a:moveTo>
                  <a:lnTo>
                    <a:pt x="0" y="72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5" name="object 52">
              <a:extLst>
                <a:ext uri="{FF2B5EF4-FFF2-40B4-BE49-F238E27FC236}">
                  <a16:creationId xmlns:a16="http://schemas.microsoft.com/office/drawing/2014/main" id="{F44DF838-F98F-4D47-9BF1-667240B3F475}"/>
                </a:ext>
              </a:extLst>
            </p:cNvPr>
            <p:cNvSpPr/>
            <p:nvPr/>
          </p:nvSpPr>
          <p:spPr>
            <a:xfrm>
              <a:off x="1893908" y="1574990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104" y="0"/>
                  </a:moveTo>
                  <a:lnTo>
                    <a:pt x="0" y="81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6" name="object 53">
              <a:extLst>
                <a:ext uri="{FF2B5EF4-FFF2-40B4-BE49-F238E27FC236}">
                  <a16:creationId xmlns:a16="http://schemas.microsoft.com/office/drawing/2014/main" id="{4C7AE8F6-1FE9-8844-A493-5B79107E3236}"/>
                </a:ext>
              </a:extLst>
            </p:cNvPr>
            <p:cNvSpPr/>
            <p:nvPr/>
          </p:nvSpPr>
          <p:spPr>
            <a:xfrm>
              <a:off x="1893908" y="1574990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104" y="0"/>
                  </a:moveTo>
                  <a:lnTo>
                    <a:pt x="0" y="90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7" name="object 54">
              <a:extLst>
                <a:ext uri="{FF2B5EF4-FFF2-40B4-BE49-F238E27FC236}">
                  <a16:creationId xmlns:a16="http://schemas.microsoft.com/office/drawing/2014/main" id="{6B76F95E-3250-734A-A257-1FC4D889F587}"/>
                </a:ext>
              </a:extLst>
            </p:cNvPr>
            <p:cNvSpPr/>
            <p:nvPr/>
          </p:nvSpPr>
          <p:spPr>
            <a:xfrm>
              <a:off x="1893908" y="1574990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80">
                  <a:moveTo>
                    <a:pt x="995104" y="0"/>
                  </a:moveTo>
                  <a:lnTo>
                    <a:pt x="0" y="9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8" name="object 55">
              <a:extLst>
                <a:ext uri="{FF2B5EF4-FFF2-40B4-BE49-F238E27FC236}">
                  <a16:creationId xmlns:a16="http://schemas.microsoft.com/office/drawing/2014/main" id="{D5B611B2-09C6-E348-9B1D-FE97BE24EF40}"/>
                </a:ext>
              </a:extLst>
            </p:cNvPr>
            <p:cNvSpPr/>
            <p:nvPr/>
          </p:nvSpPr>
          <p:spPr>
            <a:xfrm>
              <a:off x="1893908" y="1574990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104" y="0"/>
                  </a:moveTo>
                  <a:lnTo>
                    <a:pt x="0" y="108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49" name="object 56">
              <a:extLst>
                <a:ext uri="{FF2B5EF4-FFF2-40B4-BE49-F238E27FC236}">
                  <a16:creationId xmlns:a16="http://schemas.microsoft.com/office/drawing/2014/main" id="{68AFBC59-3E1F-824A-86D9-047BA57D45F6}"/>
                </a:ext>
              </a:extLst>
            </p:cNvPr>
            <p:cNvSpPr/>
            <p:nvPr/>
          </p:nvSpPr>
          <p:spPr>
            <a:xfrm>
              <a:off x="1893907" y="1574990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105" y="0"/>
                  </a:moveTo>
                  <a:lnTo>
                    <a:pt x="0" y="11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0" name="object 57">
              <a:extLst>
                <a:ext uri="{FF2B5EF4-FFF2-40B4-BE49-F238E27FC236}">
                  <a16:creationId xmlns:a16="http://schemas.microsoft.com/office/drawing/2014/main" id="{EE2CD076-6C89-3145-8E7B-A7CD94F44DBA}"/>
                </a:ext>
              </a:extLst>
            </p:cNvPr>
            <p:cNvSpPr/>
            <p:nvPr/>
          </p:nvSpPr>
          <p:spPr>
            <a:xfrm>
              <a:off x="1893907" y="160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1" name="object 58">
              <a:extLst>
                <a:ext uri="{FF2B5EF4-FFF2-40B4-BE49-F238E27FC236}">
                  <a16:creationId xmlns:a16="http://schemas.microsoft.com/office/drawing/2014/main" id="{9B3892BC-C6CC-A74D-BFE5-62BDB9735A17}"/>
                </a:ext>
              </a:extLst>
            </p:cNvPr>
            <p:cNvSpPr/>
            <p:nvPr/>
          </p:nvSpPr>
          <p:spPr>
            <a:xfrm>
              <a:off x="1893908" y="16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2" name="object 59">
              <a:extLst>
                <a:ext uri="{FF2B5EF4-FFF2-40B4-BE49-F238E27FC236}">
                  <a16:creationId xmlns:a16="http://schemas.microsoft.com/office/drawing/2014/main" id="{F36AABE1-29B8-C644-8761-D89595CCDFA3}"/>
                </a:ext>
              </a:extLst>
            </p:cNvPr>
            <p:cNvSpPr/>
            <p:nvPr/>
          </p:nvSpPr>
          <p:spPr>
            <a:xfrm>
              <a:off x="1893908" y="178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3" name="object 60">
              <a:extLst>
                <a:ext uri="{FF2B5EF4-FFF2-40B4-BE49-F238E27FC236}">
                  <a16:creationId xmlns:a16="http://schemas.microsoft.com/office/drawing/2014/main" id="{05FF5736-ED19-AC44-9139-E65155384E69}"/>
                </a:ext>
              </a:extLst>
            </p:cNvPr>
            <p:cNvSpPr/>
            <p:nvPr/>
          </p:nvSpPr>
          <p:spPr>
            <a:xfrm>
              <a:off x="1893908" y="187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4" name="object 61">
              <a:extLst>
                <a:ext uri="{FF2B5EF4-FFF2-40B4-BE49-F238E27FC236}">
                  <a16:creationId xmlns:a16="http://schemas.microsoft.com/office/drawing/2014/main" id="{A0765117-0E81-8F41-BACE-B7D766D358BE}"/>
                </a:ext>
              </a:extLst>
            </p:cNvPr>
            <p:cNvSpPr/>
            <p:nvPr/>
          </p:nvSpPr>
          <p:spPr>
            <a:xfrm>
              <a:off x="1893907" y="196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5" name="object 62">
              <a:extLst>
                <a:ext uri="{FF2B5EF4-FFF2-40B4-BE49-F238E27FC236}">
                  <a16:creationId xmlns:a16="http://schemas.microsoft.com/office/drawing/2014/main" id="{1E03EA41-01E2-6C4C-903E-BE858840C206}"/>
                </a:ext>
              </a:extLst>
            </p:cNvPr>
            <p:cNvSpPr/>
            <p:nvPr/>
          </p:nvSpPr>
          <p:spPr>
            <a:xfrm>
              <a:off x="1893908" y="205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6" name="object 63">
              <a:extLst>
                <a:ext uri="{FF2B5EF4-FFF2-40B4-BE49-F238E27FC236}">
                  <a16:creationId xmlns:a16="http://schemas.microsoft.com/office/drawing/2014/main" id="{2701C95F-8F91-B74A-8E85-EDA69F983898}"/>
                </a:ext>
              </a:extLst>
            </p:cNvPr>
            <p:cNvSpPr/>
            <p:nvPr/>
          </p:nvSpPr>
          <p:spPr>
            <a:xfrm>
              <a:off x="1893908" y="214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7" name="object 64">
              <a:extLst>
                <a:ext uri="{FF2B5EF4-FFF2-40B4-BE49-F238E27FC236}">
                  <a16:creationId xmlns:a16="http://schemas.microsoft.com/office/drawing/2014/main" id="{F0E92EDE-32C1-E948-B037-1E7D9B85E7DE}"/>
                </a:ext>
              </a:extLst>
            </p:cNvPr>
            <p:cNvSpPr/>
            <p:nvPr/>
          </p:nvSpPr>
          <p:spPr>
            <a:xfrm>
              <a:off x="1893908" y="223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8" name="object 65">
              <a:extLst>
                <a:ext uri="{FF2B5EF4-FFF2-40B4-BE49-F238E27FC236}">
                  <a16:creationId xmlns:a16="http://schemas.microsoft.com/office/drawing/2014/main" id="{14C4035E-1C8D-CB43-AA41-B97EBDEC0761}"/>
                </a:ext>
              </a:extLst>
            </p:cNvPr>
            <p:cNvSpPr/>
            <p:nvPr/>
          </p:nvSpPr>
          <p:spPr>
            <a:xfrm>
              <a:off x="1893908" y="232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59" name="object 66">
              <a:extLst>
                <a:ext uri="{FF2B5EF4-FFF2-40B4-BE49-F238E27FC236}">
                  <a16:creationId xmlns:a16="http://schemas.microsoft.com/office/drawing/2014/main" id="{45DDE1A5-E671-C440-ADD2-5C28C480ACC5}"/>
                </a:ext>
              </a:extLst>
            </p:cNvPr>
            <p:cNvSpPr/>
            <p:nvPr/>
          </p:nvSpPr>
          <p:spPr>
            <a:xfrm>
              <a:off x="1893908" y="2415920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0" name="object 67">
              <a:extLst>
                <a:ext uri="{FF2B5EF4-FFF2-40B4-BE49-F238E27FC236}">
                  <a16:creationId xmlns:a16="http://schemas.microsoft.com/office/drawing/2014/main" id="{85063985-9165-4040-A11B-983035F6DC0E}"/>
                </a:ext>
              </a:extLst>
            </p:cNvPr>
            <p:cNvSpPr/>
            <p:nvPr/>
          </p:nvSpPr>
          <p:spPr>
            <a:xfrm>
              <a:off x="1893907" y="250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1" name="object 68">
              <a:extLst>
                <a:ext uri="{FF2B5EF4-FFF2-40B4-BE49-F238E27FC236}">
                  <a16:creationId xmlns:a16="http://schemas.microsoft.com/office/drawing/2014/main" id="{887118E1-0AB9-7449-BEB8-3CA57987E15D}"/>
                </a:ext>
              </a:extLst>
            </p:cNvPr>
            <p:cNvSpPr/>
            <p:nvPr/>
          </p:nvSpPr>
          <p:spPr>
            <a:xfrm>
              <a:off x="1893908" y="25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2" name="object 69">
              <a:extLst>
                <a:ext uri="{FF2B5EF4-FFF2-40B4-BE49-F238E27FC236}">
                  <a16:creationId xmlns:a16="http://schemas.microsoft.com/office/drawing/2014/main" id="{4E47EB84-8250-7646-88F6-A331FE1A9C06}"/>
                </a:ext>
              </a:extLst>
            </p:cNvPr>
            <p:cNvSpPr/>
            <p:nvPr/>
          </p:nvSpPr>
          <p:spPr>
            <a:xfrm>
              <a:off x="1893907" y="2685924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3" name="object 70">
              <a:extLst>
                <a:ext uri="{FF2B5EF4-FFF2-40B4-BE49-F238E27FC236}">
                  <a16:creationId xmlns:a16="http://schemas.microsoft.com/office/drawing/2014/main" id="{2AE20376-9CDF-0B47-869B-8F7ECB04ECA5}"/>
                </a:ext>
              </a:extLst>
            </p:cNvPr>
            <p:cNvSpPr/>
            <p:nvPr/>
          </p:nvSpPr>
          <p:spPr>
            <a:xfrm>
              <a:off x="1953008" y="2775922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072" y="0"/>
                  </a:moveTo>
                  <a:lnTo>
                    <a:pt x="0" y="117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4" name="object 71">
              <a:extLst>
                <a:ext uri="{FF2B5EF4-FFF2-40B4-BE49-F238E27FC236}">
                  <a16:creationId xmlns:a16="http://schemas.microsoft.com/office/drawing/2014/main" id="{2F7C4F1C-8F49-FA43-9145-AF94E82DBE68}"/>
                </a:ext>
              </a:extLst>
            </p:cNvPr>
            <p:cNvSpPr/>
            <p:nvPr/>
          </p:nvSpPr>
          <p:spPr>
            <a:xfrm>
              <a:off x="2043008" y="2865922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072" y="0"/>
                  </a:moveTo>
                  <a:lnTo>
                    <a:pt x="0" y="108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5" name="object 72">
              <a:extLst>
                <a:ext uri="{FF2B5EF4-FFF2-40B4-BE49-F238E27FC236}">
                  <a16:creationId xmlns:a16="http://schemas.microsoft.com/office/drawing/2014/main" id="{2599A3BB-842B-364E-BF6A-28759DF238B2}"/>
                </a:ext>
              </a:extLst>
            </p:cNvPr>
            <p:cNvSpPr/>
            <p:nvPr/>
          </p:nvSpPr>
          <p:spPr>
            <a:xfrm>
              <a:off x="2133008" y="2955922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79">
                  <a:moveTo>
                    <a:pt x="995072" y="0"/>
                  </a:moveTo>
                  <a:lnTo>
                    <a:pt x="0" y="9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6" name="object 73">
              <a:extLst>
                <a:ext uri="{FF2B5EF4-FFF2-40B4-BE49-F238E27FC236}">
                  <a16:creationId xmlns:a16="http://schemas.microsoft.com/office/drawing/2014/main" id="{FA4E5284-3C1B-8B48-817F-7D47E70ABA23}"/>
                </a:ext>
              </a:extLst>
            </p:cNvPr>
            <p:cNvSpPr/>
            <p:nvPr/>
          </p:nvSpPr>
          <p:spPr>
            <a:xfrm>
              <a:off x="2223009" y="3045923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072" y="0"/>
                  </a:moveTo>
                  <a:lnTo>
                    <a:pt x="0" y="90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7" name="object 74">
              <a:extLst>
                <a:ext uri="{FF2B5EF4-FFF2-40B4-BE49-F238E27FC236}">
                  <a16:creationId xmlns:a16="http://schemas.microsoft.com/office/drawing/2014/main" id="{0E6D2133-FF1A-6A4E-AF3C-D6942DC4617E}"/>
                </a:ext>
              </a:extLst>
            </p:cNvPr>
            <p:cNvSpPr/>
            <p:nvPr/>
          </p:nvSpPr>
          <p:spPr>
            <a:xfrm>
              <a:off x="2313007" y="3135921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073" y="0"/>
                  </a:moveTo>
                  <a:lnTo>
                    <a:pt x="0" y="81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8" name="object 75">
              <a:extLst>
                <a:ext uri="{FF2B5EF4-FFF2-40B4-BE49-F238E27FC236}">
                  <a16:creationId xmlns:a16="http://schemas.microsoft.com/office/drawing/2014/main" id="{CF55EE52-ECBE-494A-9B52-191F95E514F7}"/>
                </a:ext>
              </a:extLst>
            </p:cNvPr>
            <p:cNvSpPr/>
            <p:nvPr/>
          </p:nvSpPr>
          <p:spPr>
            <a:xfrm>
              <a:off x="2403007" y="3225921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70">
                  <a:moveTo>
                    <a:pt x="725073" y="0"/>
                  </a:moveTo>
                  <a:lnTo>
                    <a:pt x="0" y="72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69" name="object 76">
              <a:extLst>
                <a:ext uri="{FF2B5EF4-FFF2-40B4-BE49-F238E27FC236}">
                  <a16:creationId xmlns:a16="http://schemas.microsoft.com/office/drawing/2014/main" id="{4E3F90FF-5358-4748-8093-360701BDC0E5}"/>
                </a:ext>
              </a:extLst>
            </p:cNvPr>
            <p:cNvSpPr/>
            <p:nvPr/>
          </p:nvSpPr>
          <p:spPr>
            <a:xfrm>
              <a:off x="2493008" y="3315923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072" y="0"/>
                  </a:moveTo>
                  <a:lnTo>
                    <a:pt x="0" y="63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70" name="object 77">
              <a:extLst>
                <a:ext uri="{FF2B5EF4-FFF2-40B4-BE49-F238E27FC236}">
                  <a16:creationId xmlns:a16="http://schemas.microsoft.com/office/drawing/2014/main" id="{CF119F02-09B6-4C45-A5CE-3C668C843334}"/>
                </a:ext>
              </a:extLst>
            </p:cNvPr>
            <p:cNvSpPr/>
            <p:nvPr/>
          </p:nvSpPr>
          <p:spPr>
            <a:xfrm>
              <a:off x="2583008" y="3405923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072" y="0"/>
                  </a:moveTo>
                  <a:lnTo>
                    <a:pt x="0" y="54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71" name="object 78">
              <a:extLst>
                <a:ext uri="{FF2B5EF4-FFF2-40B4-BE49-F238E27FC236}">
                  <a16:creationId xmlns:a16="http://schemas.microsoft.com/office/drawing/2014/main" id="{376F99D4-157F-5B4B-94E8-D58F38F24269}"/>
                </a:ext>
              </a:extLst>
            </p:cNvPr>
            <p:cNvSpPr/>
            <p:nvPr/>
          </p:nvSpPr>
          <p:spPr>
            <a:xfrm>
              <a:off x="2673008" y="3495922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5">
                  <a:moveTo>
                    <a:pt x="455073" y="0"/>
                  </a:moveTo>
                  <a:lnTo>
                    <a:pt x="0" y="45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72" name="object 79">
              <a:extLst>
                <a:ext uri="{FF2B5EF4-FFF2-40B4-BE49-F238E27FC236}">
                  <a16:creationId xmlns:a16="http://schemas.microsoft.com/office/drawing/2014/main" id="{A1F64340-179F-554E-BB5E-A391097D51D5}"/>
                </a:ext>
              </a:extLst>
            </p:cNvPr>
            <p:cNvSpPr/>
            <p:nvPr/>
          </p:nvSpPr>
          <p:spPr>
            <a:xfrm>
              <a:off x="2763007" y="3585921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074" y="0"/>
                  </a:moveTo>
                  <a:lnTo>
                    <a:pt x="0" y="36507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73" name="object 80">
              <a:extLst>
                <a:ext uri="{FF2B5EF4-FFF2-40B4-BE49-F238E27FC236}">
                  <a16:creationId xmlns:a16="http://schemas.microsoft.com/office/drawing/2014/main" id="{BE6434EC-8F98-B142-982A-8163EF4FED89}"/>
                </a:ext>
              </a:extLst>
            </p:cNvPr>
            <p:cNvSpPr/>
            <p:nvPr/>
          </p:nvSpPr>
          <p:spPr>
            <a:xfrm>
              <a:off x="2853008" y="3675922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073" y="0"/>
                  </a:moveTo>
                  <a:lnTo>
                    <a:pt x="0" y="27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74" name="object 81">
              <a:extLst>
                <a:ext uri="{FF2B5EF4-FFF2-40B4-BE49-F238E27FC236}">
                  <a16:creationId xmlns:a16="http://schemas.microsoft.com/office/drawing/2014/main" id="{6D8FC42C-E4E0-B34D-B9BB-E092D05C16B3}"/>
                </a:ext>
              </a:extLst>
            </p:cNvPr>
            <p:cNvSpPr/>
            <p:nvPr/>
          </p:nvSpPr>
          <p:spPr>
            <a:xfrm>
              <a:off x="2943009" y="3765923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20">
                  <a:moveTo>
                    <a:pt x="185071" y="0"/>
                  </a:moveTo>
                  <a:lnTo>
                    <a:pt x="0" y="185071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75" name="object 82">
              <a:extLst>
                <a:ext uri="{FF2B5EF4-FFF2-40B4-BE49-F238E27FC236}">
                  <a16:creationId xmlns:a16="http://schemas.microsoft.com/office/drawing/2014/main" id="{EB63BD3A-5C09-3040-8049-A9303000F41D}"/>
                </a:ext>
              </a:extLst>
            </p:cNvPr>
            <p:cNvSpPr/>
            <p:nvPr/>
          </p:nvSpPr>
          <p:spPr>
            <a:xfrm>
              <a:off x="3033009" y="3855922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072" y="0"/>
                  </a:moveTo>
                  <a:lnTo>
                    <a:pt x="0" y="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76" name="object 83">
              <a:extLst>
                <a:ext uri="{FF2B5EF4-FFF2-40B4-BE49-F238E27FC236}">
                  <a16:creationId xmlns:a16="http://schemas.microsoft.com/office/drawing/2014/main" id="{2BC72F50-19A8-7244-9695-C8DC55500357}"/>
                </a:ext>
              </a:extLst>
            </p:cNvPr>
            <p:cNvSpPr/>
            <p:nvPr/>
          </p:nvSpPr>
          <p:spPr>
            <a:xfrm>
              <a:off x="3123008" y="3945922"/>
              <a:ext cx="5080" cy="5080"/>
            </a:xfrm>
            <a:custGeom>
              <a:avLst/>
              <a:gdLst/>
              <a:ahLst/>
              <a:cxnLst/>
              <a:rect l="l" t="t" r="r" b="b"/>
              <a:pathLst>
                <a:path w="5079" h="5079">
                  <a:moveTo>
                    <a:pt x="5072" y="0"/>
                  </a:moveTo>
                  <a:lnTo>
                    <a:pt x="0" y="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</p:grpSp>
      <p:grpSp>
        <p:nvGrpSpPr>
          <p:cNvPr id="83" name="Gruppieren 82">
            <a:extLst>
              <a:ext uri="{FF2B5EF4-FFF2-40B4-BE49-F238E27FC236}">
                <a16:creationId xmlns:a16="http://schemas.microsoft.com/office/drawing/2014/main" id="{DA4A78A5-E754-4543-9C17-5F71C2EA4FFC}"/>
              </a:ext>
            </a:extLst>
          </p:cNvPr>
          <p:cNvGrpSpPr/>
          <p:nvPr/>
        </p:nvGrpSpPr>
        <p:grpSpPr>
          <a:xfrm>
            <a:off x="4267342" y="1678626"/>
            <a:ext cx="1234781" cy="2376612"/>
            <a:chOff x="1893907" y="1574990"/>
            <a:chExt cx="1234781" cy="2376612"/>
          </a:xfrm>
        </p:grpSpPr>
        <p:sp>
          <p:nvSpPr>
            <p:cNvPr id="84" name="object 43">
              <a:extLst>
                <a:ext uri="{FF2B5EF4-FFF2-40B4-BE49-F238E27FC236}">
                  <a16:creationId xmlns:a16="http://schemas.microsoft.com/office/drawing/2014/main" id="{FB655316-4B30-4A49-9DF7-A4D2B70EB274}"/>
                </a:ext>
              </a:extLst>
            </p:cNvPr>
            <p:cNvSpPr/>
            <p:nvPr/>
          </p:nvSpPr>
          <p:spPr>
            <a:xfrm>
              <a:off x="1893908" y="1574990"/>
              <a:ext cx="5715" cy="5715"/>
            </a:xfrm>
            <a:custGeom>
              <a:avLst/>
              <a:gdLst/>
              <a:ahLst/>
              <a:cxnLst/>
              <a:rect l="l" t="t" r="r" b="b"/>
              <a:pathLst>
                <a:path w="5714" h="5715">
                  <a:moveTo>
                    <a:pt x="5105" y="0"/>
                  </a:moveTo>
                  <a:lnTo>
                    <a:pt x="0" y="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85" name="object 44">
              <a:extLst>
                <a:ext uri="{FF2B5EF4-FFF2-40B4-BE49-F238E27FC236}">
                  <a16:creationId xmlns:a16="http://schemas.microsoft.com/office/drawing/2014/main" id="{F4E19C4F-4B79-EB44-AE15-FE140BF5AB3F}"/>
                </a:ext>
              </a:extLst>
            </p:cNvPr>
            <p:cNvSpPr/>
            <p:nvPr/>
          </p:nvSpPr>
          <p:spPr>
            <a:xfrm>
              <a:off x="1893908" y="1574990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104" y="0"/>
                  </a:moveTo>
                  <a:lnTo>
                    <a:pt x="0" y="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86" name="object 45">
              <a:extLst>
                <a:ext uri="{FF2B5EF4-FFF2-40B4-BE49-F238E27FC236}">
                  <a16:creationId xmlns:a16="http://schemas.microsoft.com/office/drawing/2014/main" id="{1967F5F3-4310-2C47-9561-B8EE4F8F9F89}"/>
                </a:ext>
              </a:extLst>
            </p:cNvPr>
            <p:cNvSpPr/>
            <p:nvPr/>
          </p:nvSpPr>
          <p:spPr>
            <a:xfrm>
              <a:off x="1893908" y="1574990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19">
                  <a:moveTo>
                    <a:pt x="185106" y="0"/>
                  </a:moveTo>
                  <a:lnTo>
                    <a:pt x="0" y="185106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87" name="object 46">
              <a:extLst>
                <a:ext uri="{FF2B5EF4-FFF2-40B4-BE49-F238E27FC236}">
                  <a16:creationId xmlns:a16="http://schemas.microsoft.com/office/drawing/2014/main" id="{9AD9291E-BE9A-794C-940C-F29C57D9F877}"/>
                </a:ext>
              </a:extLst>
            </p:cNvPr>
            <p:cNvSpPr/>
            <p:nvPr/>
          </p:nvSpPr>
          <p:spPr>
            <a:xfrm>
              <a:off x="1893908" y="1574990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105" y="0"/>
                  </a:moveTo>
                  <a:lnTo>
                    <a:pt x="0" y="2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88" name="object 47">
              <a:extLst>
                <a:ext uri="{FF2B5EF4-FFF2-40B4-BE49-F238E27FC236}">
                  <a16:creationId xmlns:a16="http://schemas.microsoft.com/office/drawing/2014/main" id="{FB2D6237-2AF9-B04D-B1AA-6A6536A832CC}"/>
                </a:ext>
              </a:extLst>
            </p:cNvPr>
            <p:cNvSpPr/>
            <p:nvPr/>
          </p:nvSpPr>
          <p:spPr>
            <a:xfrm>
              <a:off x="1893908" y="1574990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105" y="0"/>
                  </a:moveTo>
                  <a:lnTo>
                    <a:pt x="0" y="36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89" name="object 48">
              <a:extLst>
                <a:ext uri="{FF2B5EF4-FFF2-40B4-BE49-F238E27FC236}">
                  <a16:creationId xmlns:a16="http://schemas.microsoft.com/office/drawing/2014/main" id="{889591B6-7DBD-924E-87DE-16A5B4D7DC33}"/>
                </a:ext>
              </a:extLst>
            </p:cNvPr>
            <p:cNvSpPr/>
            <p:nvPr/>
          </p:nvSpPr>
          <p:spPr>
            <a:xfrm>
              <a:off x="1893908" y="1574990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4">
                  <a:moveTo>
                    <a:pt x="455105" y="0"/>
                  </a:moveTo>
                  <a:lnTo>
                    <a:pt x="0" y="45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0" name="object 49">
              <a:extLst>
                <a:ext uri="{FF2B5EF4-FFF2-40B4-BE49-F238E27FC236}">
                  <a16:creationId xmlns:a16="http://schemas.microsoft.com/office/drawing/2014/main" id="{67B244CF-1005-F546-9BB9-DB448CC3BBA2}"/>
                </a:ext>
              </a:extLst>
            </p:cNvPr>
            <p:cNvSpPr/>
            <p:nvPr/>
          </p:nvSpPr>
          <p:spPr>
            <a:xfrm>
              <a:off x="1893908" y="1574990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105" y="0"/>
                  </a:moveTo>
                  <a:lnTo>
                    <a:pt x="0" y="54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1" name="object 50">
              <a:extLst>
                <a:ext uri="{FF2B5EF4-FFF2-40B4-BE49-F238E27FC236}">
                  <a16:creationId xmlns:a16="http://schemas.microsoft.com/office/drawing/2014/main" id="{FDDC883E-EDDC-2F46-8924-03BB3CE7203A}"/>
                </a:ext>
              </a:extLst>
            </p:cNvPr>
            <p:cNvSpPr/>
            <p:nvPr/>
          </p:nvSpPr>
          <p:spPr>
            <a:xfrm>
              <a:off x="1893908" y="1574990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105" y="0"/>
                  </a:moveTo>
                  <a:lnTo>
                    <a:pt x="0" y="63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2" name="object 51">
              <a:extLst>
                <a:ext uri="{FF2B5EF4-FFF2-40B4-BE49-F238E27FC236}">
                  <a16:creationId xmlns:a16="http://schemas.microsoft.com/office/drawing/2014/main" id="{52987400-3DC8-8343-873D-6215230EC910}"/>
                </a:ext>
              </a:extLst>
            </p:cNvPr>
            <p:cNvSpPr/>
            <p:nvPr/>
          </p:nvSpPr>
          <p:spPr>
            <a:xfrm>
              <a:off x="1893908" y="1574990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69">
                  <a:moveTo>
                    <a:pt x="725105" y="0"/>
                  </a:moveTo>
                  <a:lnTo>
                    <a:pt x="0" y="72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3" name="object 52">
              <a:extLst>
                <a:ext uri="{FF2B5EF4-FFF2-40B4-BE49-F238E27FC236}">
                  <a16:creationId xmlns:a16="http://schemas.microsoft.com/office/drawing/2014/main" id="{62D0B36C-C822-DD4B-A8E4-74A60894DF6A}"/>
                </a:ext>
              </a:extLst>
            </p:cNvPr>
            <p:cNvSpPr/>
            <p:nvPr/>
          </p:nvSpPr>
          <p:spPr>
            <a:xfrm>
              <a:off x="1893908" y="1574990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104" y="0"/>
                  </a:moveTo>
                  <a:lnTo>
                    <a:pt x="0" y="81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4" name="object 53">
              <a:extLst>
                <a:ext uri="{FF2B5EF4-FFF2-40B4-BE49-F238E27FC236}">
                  <a16:creationId xmlns:a16="http://schemas.microsoft.com/office/drawing/2014/main" id="{8C7EB7D6-903C-DC49-8274-A65B0465C0F3}"/>
                </a:ext>
              </a:extLst>
            </p:cNvPr>
            <p:cNvSpPr/>
            <p:nvPr/>
          </p:nvSpPr>
          <p:spPr>
            <a:xfrm>
              <a:off x="1893908" y="1574990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104" y="0"/>
                  </a:moveTo>
                  <a:lnTo>
                    <a:pt x="0" y="90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5" name="object 54">
              <a:extLst>
                <a:ext uri="{FF2B5EF4-FFF2-40B4-BE49-F238E27FC236}">
                  <a16:creationId xmlns:a16="http://schemas.microsoft.com/office/drawing/2014/main" id="{AAEAB2C2-2663-FD43-BC27-D51D137811F5}"/>
                </a:ext>
              </a:extLst>
            </p:cNvPr>
            <p:cNvSpPr/>
            <p:nvPr/>
          </p:nvSpPr>
          <p:spPr>
            <a:xfrm>
              <a:off x="1893908" y="1574990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80">
                  <a:moveTo>
                    <a:pt x="995104" y="0"/>
                  </a:moveTo>
                  <a:lnTo>
                    <a:pt x="0" y="9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6" name="object 55">
              <a:extLst>
                <a:ext uri="{FF2B5EF4-FFF2-40B4-BE49-F238E27FC236}">
                  <a16:creationId xmlns:a16="http://schemas.microsoft.com/office/drawing/2014/main" id="{D0254321-0E13-2047-9581-4F39A16EC2C6}"/>
                </a:ext>
              </a:extLst>
            </p:cNvPr>
            <p:cNvSpPr/>
            <p:nvPr/>
          </p:nvSpPr>
          <p:spPr>
            <a:xfrm>
              <a:off x="1893908" y="1574990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104" y="0"/>
                  </a:moveTo>
                  <a:lnTo>
                    <a:pt x="0" y="108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7" name="object 56">
              <a:extLst>
                <a:ext uri="{FF2B5EF4-FFF2-40B4-BE49-F238E27FC236}">
                  <a16:creationId xmlns:a16="http://schemas.microsoft.com/office/drawing/2014/main" id="{E280D7B2-F5E2-E442-91DA-F105DB99EFB7}"/>
                </a:ext>
              </a:extLst>
            </p:cNvPr>
            <p:cNvSpPr/>
            <p:nvPr/>
          </p:nvSpPr>
          <p:spPr>
            <a:xfrm>
              <a:off x="1893907" y="1574990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105" y="0"/>
                  </a:moveTo>
                  <a:lnTo>
                    <a:pt x="0" y="11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8" name="object 57">
              <a:extLst>
                <a:ext uri="{FF2B5EF4-FFF2-40B4-BE49-F238E27FC236}">
                  <a16:creationId xmlns:a16="http://schemas.microsoft.com/office/drawing/2014/main" id="{EE84A80B-9C82-224B-9ADF-6098A568A78F}"/>
                </a:ext>
              </a:extLst>
            </p:cNvPr>
            <p:cNvSpPr/>
            <p:nvPr/>
          </p:nvSpPr>
          <p:spPr>
            <a:xfrm>
              <a:off x="1893907" y="160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99" name="object 58">
              <a:extLst>
                <a:ext uri="{FF2B5EF4-FFF2-40B4-BE49-F238E27FC236}">
                  <a16:creationId xmlns:a16="http://schemas.microsoft.com/office/drawing/2014/main" id="{3068D42C-63CD-4049-9403-173DB14A8D07}"/>
                </a:ext>
              </a:extLst>
            </p:cNvPr>
            <p:cNvSpPr/>
            <p:nvPr/>
          </p:nvSpPr>
          <p:spPr>
            <a:xfrm>
              <a:off x="1893908" y="16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0" name="object 59">
              <a:extLst>
                <a:ext uri="{FF2B5EF4-FFF2-40B4-BE49-F238E27FC236}">
                  <a16:creationId xmlns:a16="http://schemas.microsoft.com/office/drawing/2014/main" id="{9B7E1783-65F4-1946-8286-DBC0E8351891}"/>
                </a:ext>
              </a:extLst>
            </p:cNvPr>
            <p:cNvSpPr/>
            <p:nvPr/>
          </p:nvSpPr>
          <p:spPr>
            <a:xfrm>
              <a:off x="1893908" y="178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1" name="object 60">
              <a:extLst>
                <a:ext uri="{FF2B5EF4-FFF2-40B4-BE49-F238E27FC236}">
                  <a16:creationId xmlns:a16="http://schemas.microsoft.com/office/drawing/2014/main" id="{8BAF93C6-BDFC-5940-B8D2-A1995ECD5DCF}"/>
                </a:ext>
              </a:extLst>
            </p:cNvPr>
            <p:cNvSpPr/>
            <p:nvPr/>
          </p:nvSpPr>
          <p:spPr>
            <a:xfrm>
              <a:off x="1893908" y="187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2" name="object 61">
              <a:extLst>
                <a:ext uri="{FF2B5EF4-FFF2-40B4-BE49-F238E27FC236}">
                  <a16:creationId xmlns:a16="http://schemas.microsoft.com/office/drawing/2014/main" id="{AE950E86-23E2-084B-8C00-520D0E8FC160}"/>
                </a:ext>
              </a:extLst>
            </p:cNvPr>
            <p:cNvSpPr/>
            <p:nvPr/>
          </p:nvSpPr>
          <p:spPr>
            <a:xfrm>
              <a:off x="1893907" y="196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3" name="object 62">
              <a:extLst>
                <a:ext uri="{FF2B5EF4-FFF2-40B4-BE49-F238E27FC236}">
                  <a16:creationId xmlns:a16="http://schemas.microsoft.com/office/drawing/2014/main" id="{B05E86F1-FB7F-AB44-8CA5-F9B7A48C49A9}"/>
                </a:ext>
              </a:extLst>
            </p:cNvPr>
            <p:cNvSpPr/>
            <p:nvPr/>
          </p:nvSpPr>
          <p:spPr>
            <a:xfrm>
              <a:off x="1893908" y="205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4" name="object 63">
              <a:extLst>
                <a:ext uri="{FF2B5EF4-FFF2-40B4-BE49-F238E27FC236}">
                  <a16:creationId xmlns:a16="http://schemas.microsoft.com/office/drawing/2014/main" id="{B8CB0448-6E27-DE49-A9A8-2F2F03CAED41}"/>
                </a:ext>
              </a:extLst>
            </p:cNvPr>
            <p:cNvSpPr/>
            <p:nvPr/>
          </p:nvSpPr>
          <p:spPr>
            <a:xfrm>
              <a:off x="1893908" y="214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5" name="object 64">
              <a:extLst>
                <a:ext uri="{FF2B5EF4-FFF2-40B4-BE49-F238E27FC236}">
                  <a16:creationId xmlns:a16="http://schemas.microsoft.com/office/drawing/2014/main" id="{8834718E-D44C-3A48-820D-4BB05CC57DB2}"/>
                </a:ext>
              </a:extLst>
            </p:cNvPr>
            <p:cNvSpPr/>
            <p:nvPr/>
          </p:nvSpPr>
          <p:spPr>
            <a:xfrm>
              <a:off x="1893908" y="223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6" name="object 65">
              <a:extLst>
                <a:ext uri="{FF2B5EF4-FFF2-40B4-BE49-F238E27FC236}">
                  <a16:creationId xmlns:a16="http://schemas.microsoft.com/office/drawing/2014/main" id="{6D7A418A-7E3E-1C4A-806D-D2B2E2744FB3}"/>
                </a:ext>
              </a:extLst>
            </p:cNvPr>
            <p:cNvSpPr/>
            <p:nvPr/>
          </p:nvSpPr>
          <p:spPr>
            <a:xfrm>
              <a:off x="1893908" y="232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7" name="object 66">
              <a:extLst>
                <a:ext uri="{FF2B5EF4-FFF2-40B4-BE49-F238E27FC236}">
                  <a16:creationId xmlns:a16="http://schemas.microsoft.com/office/drawing/2014/main" id="{441FFE0F-C81A-6942-8002-E9DA2B2EE3BA}"/>
                </a:ext>
              </a:extLst>
            </p:cNvPr>
            <p:cNvSpPr/>
            <p:nvPr/>
          </p:nvSpPr>
          <p:spPr>
            <a:xfrm>
              <a:off x="1893908" y="2415920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8" name="object 67">
              <a:extLst>
                <a:ext uri="{FF2B5EF4-FFF2-40B4-BE49-F238E27FC236}">
                  <a16:creationId xmlns:a16="http://schemas.microsoft.com/office/drawing/2014/main" id="{4F46806D-C62E-2D46-89EB-0A35330CBC3D}"/>
                </a:ext>
              </a:extLst>
            </p:cNvPr>
            <p:cNvSpPr/>
            <p:nvPr/>
          </p:nvSpPr>
          <p:spPr>
            <a:xfrm>
              <a:off x="1893907" y="250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09" name="object 68">
              <a:extLst>
                <a:ext uri="{FF2B5EF4-FFF2-40B4-BE49-F238E27FC236}">
                  <a16:creationId xmlns:a16="http://schemas.microsoft.com/office/drawing/2014/main" id="{7992CED0-BD38-284D-B44D-D212B3F3BEA2}"/>
                </a:ext>
              </a:extLst>
            </p:cNvPr>
            <p:cNvSpPr/>
            <p:nvPr/>
          </p:nvSpPr>
          <p:spPr>
            <a:xfrm>
              <a:off x="1893908" y="25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0" name="object 69">
              <a:extLst>
                <a:ext uri="{FF2B5EF4-FFF2-40B4-BE49-F238E27FC236}">
                  <a16:creationId xmlns:a16="http://schemas.microsoft.com/office/drawing/2014/main" id="{4C73F9B0-A8D3-9841-87FE-43C4BFE09617}"/>
                </a:ext>
              </a:extLst>
            </p:cNvPr>
            <p:cNvSpPr/>
            <p:nvPr/>
          </p:nvSpPr>
          <p:spPr>
            <a:xfrm>
              <a:off x="1893907" y="2685924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1" name="object 70">
              <a:extLst>
                <a:ext uri="{FF2B5EF4-FFF2-40B4-BE49-F238E27FC236}">
                  <a16:creationId xmlns:a16="http://schemas.microsoft.com/office/drawing/2014/main" id="{EF75606C-8BF7-174A-A6EE-A351A3EB72C7}"/>
                </a:ext>
              </a:extLst>
            </p:cNvPr>
            <p:cNvSpPr/>
            <p:nvPr/>
          </p:nvSpPr>
          <p:spPr>
            <a:xfrm>
              <a:off x="1953008" y="2775922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072" y="0"/>
                  </a:moveTo>
                  <a:lnTo>
                    <a:pt x="0" y="117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2" name="object 71">
              <a:extLst>
                <a:ext uri="{FF2B5EF4-FFF2-40B4-BE49-F238E27FC236}">
                  <a16:creationId xmlns:a16="http://schemas.microsoft.com/office/drawing/2014/main" id="{3D4BD353-AA17-D446-96BE-B6691AC387A4}"/>
                </a:ext>
              </a:extLst>
            </p:cNvPr>
            <p:cNvSpPr/>
            <p:nvPr/>
          </p:nvSpPr>
          <p:spPr>
            <a:xfrm>
              <a:off x="2043008" y="2865922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072" y="0"/>
                  </a:moveTo>
                  <a:lnTo>
                    <a:pt x="0" y="108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3" name="object 72">
              <a:extLst>
                <a:ext uri="{FF2B5EF4-FFF2-40B4-BE49-F238E27FC236}">
                  <a16:creationId xmlns:a16="http://schemas.microsoft.com/office/drawing/2014/main" id="{A01BA491-E813-8140-86A6-8004D79EEB0A}"/>
                </a:ext>
              </a:extLst>
            </p:cNvPr>
            <p:cNvSpPr/>
            <p:nvPr/>
          </p:nvSpPr>
          <p:spPr>
            <a:xfrm>
              <a:off x="2133008" y="2955922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79">
                  <a:moveTo>
                    <a:pt x="995072" y="0"/>
                  </a:moveTo>
                  <a:lnTo>
                    <a:pt x="0" y="9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4" name="object 73">
              <a:extLst>
                <a:ext uri="{FF2B5EF4-FFF2-40B4-BE49-F238E27FC236}">
                  <a16:creationId xmlns:a16="http://schemas.microsoft.com/office/drawing/2014/main" id="{91C38FCF-5647-BE4A-B35F-7F84D9A7D1E8}"/>
                </a:ext>
              </a:extLst>
            </p:cNvPr>
            <p:cNvSpPr/>
            <p:nvPr/>
          </p:nvSpPr>
          <p:spPr>
            <a:xfrm>
              <a:off x="2223009" y="3045923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072" y="0"/>
                  </a:moveTo>
                  <a:lnTo>
                    <a:pt x="0" y="90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5" name="object 74">
              <a:extLst>
                <a:ext uri="{FF2B5EF4-FFF2-40B4-BE49-F238E27FC236}">
                  <a16:creationId xmlns:a16="http://schemas.microsoft.com/office/drawing/2014/main" id="{6FB9A35A-EA92-C647-85EF-281A999D98E3}"/>
                </a:ext>
              </a:extLst>
            </p:cNvPr>
            <p:cNvSpPr/>
            <p:nvPr/>
          </p:nvSpPr>
          <p:spPr>
            <a:xfrm>
              <a:off x="2313007" y="3135921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073" y="0"/>
                  </a:moveTo>
                  <a:lnTo>
                    <a:pt x="0" y="81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6" name="object 75">
              <a:extLst>
                <a:ext uri="{FF2B5EF4-FFF2-40B4-BE49-F238E27FC236}">
                  <a16:creationId xmlns:a16="http://schemas.microsoft.com/office/drawing/2014/main" id="{C8132EB2-EEAB-BE42-B703-89D392573E9E}"/>
                </a:ext>
              </a:extLst>
            </p:cNvPr>
            <p:cNvSpPr/>
            <p:nvPr/>
          </p:nvSpPr>
          <p:spPr>
            <a:xfrm>
              <a:off x="2403007" y="3225921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70">
                  <a:moveTo>
                    <a:pt x="725073" y="0"/>
                  </a:moveTo>
                  <a:lnTo>
                    <a:pt x="0" y="72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7" name="object 76">
              <a:extLst>
                <a:ext uri="{FF2B5EF4-FFF2-40B4-BE49-F238E27FC236}">
                  <a16:creationId xmlns:a16="http://schemas.microsoft.com/office/drawing/2014/main" id="{C6817253-A8FA-A644-BE86-30D987656462}"/>
                </a:ext>
              </a:extLst>
            </p:cNvPr>
            <p:cNvSpPr/>
            <p:nvPr/>
          </p:nvSpPr>
          <p:spPr>
            <a:xfrm>
              <a:off x="2493008" y="3315923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072" y="0"/>
                  </a:moveTo>
                  <a:lnTo>
                    <a:pt x="0" y="63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8" name="object 77">
              <a:extLst>
                <a:ext uri="{FF2B5EF4-FFF2-40B4-BE49-F238E27FC236}">
                  <a16:creationId xmlns:a16="http://schemas.microsoft.com/office/drawing/2014/main" id="{DC5E3C18-7A77-A540-8494-8CC36F4D7F23}"/>
                </a:ext>
              </a:extLst>
            </p:cNvPr>
            <p:cNvSpPr/>
            <p:nvPr/>
          </p:nvSpPr>
          <p:spPr>
            <a:xfrm>
              <a:off x="2583008" y="3405923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072" y="0"/>
                  </a:moveTo>
                  <a:lnTo>
                    <a:pt x="0" y="54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19" name="object 78">
              <a:extLst>
                <a:ext uri="{FF2B5EF4-FFF2-40B4-BE49-F238E27FC236}">
                  <a16:creationId xmlns:a16="http://schemas.microsoft.com/office/drawing/2014/main" id="{65990296-9CCE-E34B-BECC-82D7957885DB}"/>
                </a:ext>
              </a:extLst>
            </p:cNvPr>
            <p:cNvSpPr/>
            <p:nvPr/>
          </p:nvSpPr>
          <p:spPr>
            <a:xfrm>
              <a:off x="2673008" y="3495922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5">
                  <a:moveTo>
                    <a:pt x="455073" y="0"/>
                  </a:moveTo>
                  <a:lnTo>
                    <a:pt x="0" y="45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20" name="object 79">
              <a:extLst>
                <a:ext uri="{FF2B5EF4-FFF2-40B4-BE49-F238E27FC236}">
                  <a16:creationId xmlns:a16="http://schemas.microsoft.com/office/drawing/2014/main" id="{0EB15637-3E40-BA40-B9DE-139DD2540AD6}"/>
                </a:ext>
              </a:extLst>
            </p:cNvPr>
            <p:cNvSpPr/>
            <p:nvPr/>
          </p:nvSpPr>
          <p:spPr>
            <a:xfrm>
              <a:off x="2763007" y="3585921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074" y="0"/>
                  </a:moveTo>
                  <a:lnTo>
                    <a:pt x="0" y="36507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21" name="object 80">
              <a:extLst>
                <a:ext uri="{FF2B5EF4-FFF2-40B4-BE49-F238E27FC236}">
                  <a16:creationId xmlns:a16="http://schemas.microsoft.com/office/drawing/2014/main" id="{BB5ADD39-2A63-7047-A9D8-DA00D654F34B}"/>
                </a:ext>
              </a:extLst>
            </p:cNvPr>
            <p:cNvSpPr/>
            <p:nvPr/>
          </p:nvSpPr>
          <p:spPr>
            <a:xfrm>
              <a:off x="2853008" y="3675922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073" y="0"/>
                  </a:moveTo>
                  <a:lnTo>
                    <a:pt x="0" y="27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22" name="object 81">
              <a:extLst>
                <a:ext uri="{FF2B5EF4-FFF2-40B4-BE49-F238E27FC236}">
                  <a16:creationId xmlns:a16="http://schemas.microsoft.com/office/drawing/2014/main" id="{20EF152A-FAAE-D947-A778-7F71D767664C}"/>
                </a:ext>
              </a:extLst>
            </p:cNvPr>
            <p:cNvSpPr/>
            <p:nvPr/>
          </p:nvSpPr>
          <p:spPr>
            <a:xfrm>
              <a:off x="2943009" y="3765923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20">
                  <a:moveTo>
                    <a:pt x="185071" y="0"/>
                  </a:moveTo>
                  <a:lnTo>
                    <a:pt x="0" y="185071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23" name="object 82">
              <a:extLst>
                <a:ext uri="{FF2B5EF4-FFF2-40B4-BE49-F238E27FC236}">
                  <a16:creationId xmlns:a16="http://schemas.microsoft.com/office/drawing/2014/main" id="{7568ABDA-15D2-8F45-962B-796E039B0406}"/>
                </a:ext>
              </a:extLst>
            </p:cNvPr>
            <p:cNvSpPr/>
            <p:nvPr/>
          </p:nvSpPr>
          <p:spPr>
            <a:xfrm>
              <a:off x="3033009" y="3855922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072" y="0"/>
                  </a:moveTo>
                  <a:lnTo>
                    <a:pt x="0" y="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24" name="object 83">
              <a:extLst>
                <a:ext uri="{FF2B5EF4-FFF2-40B4-BE49-F238E27FC236}">
                  <a16:creationId xmlns:a16="http://schemas.microsoft.com/office/drawing/2014/main" id="{B2697CC7-CE62-DA46-BA86-6E81C36E4204}"/>
                </a:ext>
              </a:extLst>
            </p:cNvPr>
            <p:cNvSpPr/>
            <p:nvPr/>
          </p:nvSpPr>
          <p:spPr>
            <a:xfrm>
              <a:off x="3123008" y="3945922"/>
              <a:ext cx="5080" cy="5080"/>
            </a:xfrm>
            <a:custGeom>
              <a:avLst/>
              <a:gdLst/>
              <a:ahLst/>
              <a:cxnLst/>
              <a:rect l="l" t="t" r="r" b="b"/>
              <a:pathLst>
                <a:path w="5079" h="5079">
                  <a:moveTo>
                    <a:pt x="5072" y="0"/>
                  </a:moveTo>
                  <a:lnTo>
                    <a:pt x="0" y="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</p:grpSp>
      <p:grpSp>
        <p:nvGrpSpPr>
          <p:cNvPr id="130" name="Gruppieren 129">
            <a:extLst>
              <a:ext uri="{FF2B5EF4-FFF2-40B4-BE49-F238E27FC236}">
                <a16:creationId xmlns:a16="http://schemas.microsoft.com/office/drawing/2014/main" id="{3EB7E71B-BA95-7B48-BAC8-15D3D9B3985D}"/>
              </a:ext>
            </a:extLst>
          </p:cNvPr>
          <p:cNvGrpSpPr/>
          <p:nvPr/>
        </p:nvGrpSpPr>
        <p:grpSpPr>
          <a:xfrm>
            <a:off x="6700703" y="1678626"/>
            <a:ext cx="1234781" cy="2376612"/>
            <a:chOff x="1893907" y="1574990"/>
            <a:chExt cx="1234781" cy="2376612"/>
          </a:xfrm>
        </p:grpSpPr>
        <p:sp>
          <p:nvSpPr>
            <p:cNvPr id="131" name="object 43">
              <a:extLst>
                <a:ext uri="{FF2B5EF4-FFF2-40B4-BE49-F238E27FC236}">
                  <a16:creationId xmlns:a16="http://schemas.microsoft.com/office/drawing/2014/main" id="{61F75782-0333-D248-AC26-BC859734256E}"/>
                </a:ext>
              </a:extLst>
            </p:cNvPr>
            <p:cNvSpPr/>
            <p:nvPr/>
          </p:nvSpPr>
          <p:spPr>
            <a:xfrm>
              <a:off x="1893908" y="1574990"/>
              <a:ext cx="5715" cy="5715"/>
            </a:xfrm>
            <a:custGeom>
              <a:avLst/>
              <a:gdLst/>
              <a:ahLst/>
              <a:cxnLst/>
              <a:rect l="l" t="t" r="r" b="b"/>
              <a:pathLst>
                <a:path w="5714" h="5715">
                  <a:moveTo>
                    <a:pt x="5105" y="0"/>
                  </a:moveTo>
                  <a:lnTo>
                    <a:pt x="0" y="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2" name="object 44">
              <a:extLst>
                <a:ext uri="{FF2B5EF4-FFF2-40B4-BE49-F238E27FC236}">
                  <a16:creationId xmlns:a16="http://schemas.microsoft.com/office/drawing/2014/main" id="{1ACD2678-E9CD-EA4A-B1AB-0C675E401E84}"/>
                </a:ext>
              </a:extLst>
            </p:cNvPr>
            <p:cNvSpPr/>
            <p:nvPr/>
          </p:nvSpPr>
          <p:spPr>
            <a:xfrm>
              <a:off x="1893908" y="1574990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104" y="0"/>
                  </a:moveTo>
                  <a:lnTo>
                    <a:pt x="0" y="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3" name="object 45">
              <a:extLst>
                <a:ext uri="{FF2B5EF4-FFF2-40B4-BE49-F238E27FC236}">
                  <a16:creationId xmlns:a16="http://schemas.microsoft.com/office/drawing/2014/main" id="{DFA1B150-F7CF-9C4A-8BB5-F3D76C2EAC6A}"/>
                </a:ext>
              </a:extLst>
            </p:cNvPr>
            <p:cNvSpPr/>
            <p:nvPr/>
          </p:nvSpPr>
          <p:spPr>
            <a:xfrm>
              <a:off x="1893908" y="1574990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19">
                  <a:moveTo>
                    <a:pt x="185106" y="0"/>
                  </a:moveTo>
                  <a:lnTo>
                    <a:pt x="0" y="185106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4" name="object 46">
              <a:extLst>
                <a:ext uri="{FF2B5EF4-FFF2-40B4-BE49-F238E27FC236}">
                  <a16:creationId xmlns:a16="http://schemas.microsoft.com/office/drawing/2014/main" id="{691E2AE3-83AC-164E-AAD7-484AF37C4818}"/>
                </a:ext>
              </a:extLst>
            </p:cNvPr>
            <p:cNvSpPr/>
            <p:nvPr/>
          </p:nvSpPr>
          <p:spPr>
            <a:xfrm>
              <a:off x="1893908" y="1574990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105" y="0"/>
                  </a:moveTo>
                  <a:lnTo>
                    <a:pt x="0" y="2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5" name="object 47">
              <a:extLst>
                <a:ext uri="{FF2B5EF4-FFF2-40B4-BE49-F238E27FC236}">
                  <a16:creationId xmlns:a16="http://schemas.microsoft.com/office/drawing/2014/main" id="{07CB7EAB-5BDB-184D-8F4E-1AF764C912BD}"/>
                </a:ext>
              </a:extLst>
            </p:cNvPr>
            <p:cNvSpPr/>
            <p:nvPr/>
          </p:nvSpPr>
          <p:spPr>
            <a:xfrm>
              <a:off x="1893908" y="1574990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105" y="0"/>
                  </a:moveTo>
                  <a:lnTo>
                    <a:pt x="0" y="36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6" name="object 48">
              <a:extLst>
                <a:ext uri="{FF2B5EF4-FFF2-40B4-BE49-F238E27FC236}">
                  <a16:creationId xmlns:a16="http://schemas.microsoft.com/office/drawing/2014/main" id="{A82C3481-F9AF-6F43-91D7-CC28EFAF68F7}"/>
                </a:ext>
              </a:extLst>
            </p:cNvPr>
            <p:cNvSpPr/>
            <p:nvPr/>
          </p:nvSpPr>
          <p:spPr>
            <a:xfrm>
              <a:off x="1893908" y="1574990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4">
                  <a:moveTo>
                    <a:pt x="455105" y="0"/>
                  </a:moveTo>
                  <a:lnTo>
                    <a:pt x="0" y="45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7" name="object 49">
              <a:extLst>
                <a:ext uri="{FF2B5EF4-FFF2-40B4-BE49-F238E27FC236}">
                  <a16:creationId xmlns:a16="http://schemas.microsoft.com/office/drawing/2014/main" id="{FA679A6D-658F-2546-AAFF-2DCF1541561D}"/>
                </a:ext>
              </a:extLst>
            </p:cNvPr>
            <p:cNvSpPr/>
            <p:nvPr/>
          </p:nvSpPr>
          <p:spPr>
            <a:xfrm>
              <a:off x="1893908" y="1574990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105" y="0"/>
                  </a:moveTo>
                  <a:lnTo>
                    <a:pt x="0" y="54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8" name="object 50">
              <a:extLst>
                <a:ext uri="{FF2B5EF4-FFF2-40B4-BE49-F238E27FC236}">
                  <a16:creationId xmlns:a16="http://schemas.microsoft.com/office/drawing/2014/main" id="{0FA86303-5FD3-1943-B1B2-EA7FA809A425}"/>
                </a:ext>
              </a:extLst>
            </p:cNvPr>
            <p:cNvSpPr/>
            <p:nvPr/>
          </p:nvSpPr>
          <p:spPr>
            <a:xfrm>
              <a:off x="1893908" y="1574990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105" y="0"/>
                  </a:moveTo>
                  <a:lnTo>
                    <a:pt x="0" y="63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39" name="object 51">
              <a:extLst>
                <a:ext uri="{FF2B5EF4-FFF2-40B4-BE49-F238E27FC236}">
                  <a16:creationId xmlns:a16="http://schemas.microsoft.com/office/drawing/2014/main" id="{9C8956FB-F384-9642-96DC-15146E7A351D}"/>
                </a:ext>
              </a:extLst>
            </p:cNvPr>
            <p:cNvSpPr/>
            <p:nvPr/>
          </p:nvSpPr>
          <p:spPr>
            <a:xfrm>
              <a:off x="1893908" y="1574990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69">
                  <a:moveTo>
                    <a:pt x="725105" y="0"/>
                  </a:moveTo>
                  <a:lnTo>
                    <a:pt x="0" y="72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0" name="object 52">
              <a:extLst>
                <a:ext uri="{FF2B5EF4-FFF2-40B4-BE49-F238E27FC236}">
                  <a16:creationId xmlns:a16="http://schemas.microsoft.com/office/drawing/2014/main" id="{A39D912D-F4EC-0143-9211-C6FE0A16EA01}"/>
                </a:ext>
              </a:extLst>
            </p:cNvPr>
            <p:cNvSpPr/>
            <p:nvPr/>
          </p:nvSpPr>
          <p:spPr>
            <a:xfrm>
              <a:off x="1893908" y="1574990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104" y="0"/>
                  </a:moveTo>
                  <a:lnTo>
                    <a:pt x="0" y="81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1" name="object 53">
              <a:extLst>
                <a:ext uri="{FF2B5EF4-FFF2-40B4-BE49-F238E27FC236}">
                  <a16:creationId xmlns:a16="http://schemas.microsoft.com/office/drawing/2014/main" id="{B9FAEC0E-7DFF-9A4E-9563-09BC36AF4838}"/>
                </a:ext>
              </a:extLst>
            </p:cNvPr>
            <p:cNvSpPr/>
            <p:nvPr/>
          </p:nvSpPr>
          <p:spPr>
            <a:xfrm>
              <a:off x="1893908" y="1574990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104" y="0"/>
                  </a:moveTo>
                  <a:lnTo>
                    <a:pt x="0" y="90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2" name="object 54">
              <a:extLst>
                <a:ext uri="{FF2B5EF4-FFF2-40B4-BE49-F238E27FC236}">
                  <a16:creationId xmlns:a16="http://schemas.microsoft.com/office/drawing/2014/main" id="{89F87233-0D6B-2748-AA47-DC649223B736}"/>
                </a:ext>
              </a:extLst>
            </p:cNvPr>
            <p:cNvSpPr/>
            <p:nvPr/>
          </p:nvSpPr>
          <p:spPr>
            <a:xfrm>
              <a:off x="1893908" y="1574990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80">
                  <a:moveTo>
                    <a:pt x="995104" y="0"/>
                  </a:moveTo>
                  <a:lnTo>
                    <a:pt x="0" y="9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3" name="object 55">
              <a:extLst>
                <a:ext uri="{FF2B5EF4-FFF2-40B4-BE49-F238E27FC236}">
                  <a16:creationId xmlns:a16="http://schemas.microsoft.com/office/drawing/2014/main" id="{E79EC033-0742-424F-9D5D-884FDBE6B35E}"/>
                </a:ext>
              </a:extLst>
            </p:cNvPr>
            <p:cNvSpPr/>
            <p:nvPr/>
          </p:nvSpPr>
          <p:spPr>
            <a:xfrm>
              <a:off x="1893908" y="1574990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104" y="0"/>
                  </a:moveTo>
                  <a:lnTo>
                    <a:pt x="0" y="108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4" name="object 56">
              <a:extLst>
                <a:ext uri="{FF2B5EF4-FFF2-40B4-BE49-F238E27FC236}">
                  <a16:creationId xmlns:a16="http://schemas.microsoft.com/office/drawing/2014/main" id="{423F233E-AAF5-6244-B33B-0E24C7B6F945}"/>
                </a:ext>
              </a:extLst>
            </p:cNvPr>
            <p:cNvSpPr/>
            <p:nvPr/>
          </p:nvSpPr>
          <p:spPr>
            <a:xfrm>
              <a:off x="1893907" y="1574990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105" y="0"/>
                  </a:moveTo>
                  <a:lnTo>
                    <a:pt x="0" y="11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5" name="object 57">
              <a:extLst>
                <a:ext uri="{FF2B5EF4-FFF2-40B4-BE49-F238E27FC236}">
                  <a16:creationId xmlns:a16="http://schemas.microsoft.com/office/drawing/2014/main" id="{8752FAA6-378E-8947-9E61-D7F139F52703}"/>
                </a:ext>
              </a:extLst>
            </p:cNvPr>
            <p:cNvSpPr/>
            <p:nvPr/>
          </p:nvSpPr>
          <p:spPr>
            <a:xfrm>
              <a:off x="1893907" y="160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6" name="object 58">
              <a:extLst>
                <a:ext uri="{FF2B5EF4-FFF2-40B4-BE49-F238E27FC236}">
                  <a16:creationId xmlns:a16="http://schemas.microsoft.com/office/drawing/2014/main" id="{49B927DB-979C-2F4A-A96A-BB95D610FA5B}"/>
                </a:ext>
              </a:extLst>
            </p:cNvPr>
            <p:cNvSpPr/>
            <p:nvPr/>
          </p:nvSpPr>
          <p:spPr>
            <a:xfrm>
              <a:off x="1893908" y="16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7" name="object 59">
              <a:extLst>
                <a:ext uri="{FF2B5EF4-FFF2-40B4-BE49-F238E27FC236}">
                  <a16:creationId xmlns:a16="http://schemas.microsoft.com/office/drawing/2014/main" id="{7A0296B1-B86D-464B-8115-25D748699CBF}"/>
                </a:ext>
              </a:extLst>
            </p:cNvPr>
            <p:cNvSpPr/>
            <p:nvPr/>
          </p:nvSpPr>
          <p:spPr>
            <a:xfrm>
              <a:off x="1893908" y="178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8" name="object 60">
              <a:extLst>
                <a:ext uri="{FF2B5EF4-FFF2-40B4-BE49-F238E27FC236}">
                  <a16:creationId xmlns:a16="http://schemas.microsoft.com/office/drawing/2014/main" id="{0EC4EAE2-A216-A745-94CD-8B57DF248004}"/>
                </a:ext>
              </a:extLst>
            </p:cNvPr>
            <p:cNvSpPr/>
            <p:nvPr/>
          </p:nvSpPr>
          <p:spPr>
            <a:xfrm>
              <a:off x="1893908" y="187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49" name="object 61">
              <a:extLst>
                <a:ext uri="{FF2B5EF4-FFF2-40B4-BE49-F238E27FC236}">
                  <a16:creationId xmlns:a16="http://schemas.microsoft.com/office/drawing/2014/main" id="{DCF31D43-C476-7749-8DE0-7EDEB0CA86DC}"/>
                </a:ext>
              </a:extLst>
            </p:cNvPr>
            <p:cNvSpPr/>
            <p:nvPr/>
          </p:nvSpPr>
          <p:spPr>
            <a:xfrm>
              <a:off x="1893907" y="196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0" name="object 62">
              <a:extLst>
                <a:ext uri="{FF2B5EF4-FFF2-40B4-BE49-F238E27FC236}">
                  <a16:creationId xmlns:a16="http://schemas.microsoft.com/office/drawing/2014/main" id="{50178962-1985-7F4F-AAD9-AB36ED621039}"/>
                </a:ext>
              </a:extLst>
            </p:cNvPr>
            <p:cNvSpPr/>
            <p:nvPr/>
          </p:nvSpPr>
          <p:spPr>
            <a:xfrm>
              <a:off x="1893908" y="205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1" name="object 63">
              <a:extLst>
                <a:ext uri="{FF2B5EF4-FFF2-40B4-BE49-F238E27FC236}">
                  <a16:creationId xmlns:a16="http://schemas.microsoft.com/office/drawing/2014/main" id="{9AFFD04E-1470-0545-995B-9F6BE82E7FF8}"/>
                </a:ext>
              </a:extLst>
            </p:cNvPr>
            <p:cNvSpPr/>
            <p:nvPr/>
          </p:nvSpPr>
          <p:spPr>
            <a:xfrm>
              <a:off x="1893908" y="214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2" name="object 64">
              <a:extLst>
                <a:ext uri="{FF2B5EF4-FFF2-40B4-BE49-F238E27FC236}">
                  <a16:creationId xmlns:a16="http://schemas.microsoft.com/office/drawing/2014/main" id="{A6A87BA1-BDEB-FD45-A34D-DB4A791C73BF}"/>
                </a:ext>
              </a:extLst>
            </p:cNvPr>
            <p:cNvSpPr/>
            <p:nvPr/>
          </p:nvSpPr>
          <p:spPr>
            <a:xfrm>
              <a:off x="1893908" y="223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3" name="object 65">
              <a:extLst>
                <a:ext uri="{FF2B5EF4-FFF2-40B4-BE49-F238E27FC236}">
                  <a16:creationId xmlns:a16="http://schemas.microsoft.com/office/drawing/2014/main" id="{10EB6A24-FE4D-3245-BCE8-3E355D2E3CA5}"/>
                </a:ext>
              </a:extLst>
            </p:cNvPr>
            <p:cNvSpPr/>
            <p:nvPr/>
          </p:nvSpPr>
          <p:spPr>
            <a:xfrm>
              <a:off x="1893908" y="232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4" name="object 66">
              <a:extLst>
                <a:ext uri="{FF2B5EF4-FFF2-40B4-BE49-F238E27FC236}">
                  <a16:creationId xmlns:a16="http://schemas.microsoft.com/office/drawing/2014/main" id="{9C230A12-2D55-264F-A551-6C6EBA715E50}"/>
                </a:ext>
              </a:extLst>
            </p:cNvPr>
            <p:cNvSpPr/>
            <p:nvPr/>
          </p:nvSpPr>
          <p:spPr>
            <a:xfrm>
              <a:off x="1893908" y="2415920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5" name="object 67">
              <a:extLst>
                <a:ext uri="{FF2B5EF4-FFF2-40B4-BE49-F238E27FC236}">
                  <a16:creationId xmlns:a16="http://schemas.microsoft.com/office/drawing/2014/main" id="{09A5EBD2-C149-A849-9FC5-65D54792920D}"/>
                </a:ext>
              </a:extLst>
            </p:cNvPr>
            <p:cNvSpPr/>
            <p:nvPr/>
          </p:nvSpPr>
          <p:spPr>
            <a:xfrm>
              <a:off x="1893907" y="250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6" name="object 68">
              <a:extLst>
                <a:ext uri="{FF2B5EF4-FFF2-40B4-BE49-F238E27FC236}">
                  <a16:creationId xmlns:a16="http://schemas.microsoft.com/office/drawing/2014/main" id="{78A4A66D-61F1-7F4A-8C87-DCE26D3F4928}"/>
                </a:ext>
              </a:extLst>
            </p:cNvPr>
            <p:cNvSpPr/>
            <p:nvPr/>
          </p:nvSpPr>
          <p:spPr>
            <a:xfrm>
              <a:off x="1893908" y="25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7" name="object 69">
              <a:extLst>
                <a:ext uri="{FF2B5EF4-FFF2-40B4-BE49-F238E27FC236}">
                  <a16:creationId xmlns:a16="http://schemas.microsoft.com/office/drawing/2014/main" id="{812983F5-5976-2540-8EAF-991C5CF759D4}"/>
                </a:ext>
              </a:extLst>
            </p:cNvPr>
            <p:cNvSpPr/>
            <p:nvPr/>
          </p:nvSpPr>
          <p:spPr>
            <a:xfrm>
              <a:off x="1893907" y="2685924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8" name="object 70">
              <a:extLst>
                <a:ext uri="{FF2B5EF4-FFF2-40B4-BE49-F238E27FC236}">
                  <a16:creationId xmlns:a16="http://schemas.microsoft.com/office/drawing/2014/main" id="{9609A1E8-F06F-FD45-8B87-F532D39A254C}"/>
                </a:ext>
              </a:extLst>
            </p:cNvPr>
            <p:cNvSpPr/>
            <p:nvPr/>
          </p:nvSpPr>
          <p:spPr>
            <a:xfrm>
              <a:off x="1953008" y="2775922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072" y="0"/>
                  </a:moveTo>
                  <a:lnTo>
                    <a:pt x="0" y="117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59" name="object 71">
              <a:extLst>
                <a:ext uri="{FF2B5EF4-FFF2-40B4-BE49-F238E27FC236}">
                  <a16:creationId xmlns:a16="http://schemas.microsoft.com/office/drawing/2014/main" id="{1CBA4F7F-FDBD-F040-9682-8CC8804DD461}"/>
                </a:ext>
              </a:extLst>
            </p:cNvPr>
            <p:cNvSpPr/>
            <p:nvPr/>
          </p:nvSpPr>
          <p:spPr>
            <a:xfrm>
              <a:off x="2043008" y="2865922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072" y="0"/>
                  </a:moveTo>
                  <a:lnTo>
                    <a:pt x="0" y="108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0" name="object 72">
              <a:extLst>
                <a:ext uri="{FF2B5EF4-FFF2-40B4-BE49-F238E27FC236}">
                  <a16:creationId xmlns:a16="http://schemas.microsoft.com/office/drawing/2014/main" id="{365C222C-9E19-B74F-8373-D6325A66736D}"/>
                </a:ext>
              </a:extLst>
            </p:cNvPr>
            <p:cNvSpPr/>
            <p:nvPr/>
          </p:nvSpPr>
          <p:spPr>
            <a:xfrm>
              <a:off x="2133008" y="2955922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79">
                  <a:moveTo>
                    <a:pt x="995072" y="0"/>
                  </a:moveTo>
                  <a:lnTo>
                    <a:pt x="0" y="9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1" name="object 73">
              <a:extLst>
                <a:ext uri="{FF2B5EF4-FFF2-40B4-BE49-F238E27FC236}">
                  <a16:creationId xmlns:a16="http://schemas.microsoft.com/office/drawing/2014/main" id="{15798E68-399B-9249-AD44-BBBAFA4E600E}"/>
                </a:ext>
              </a:extLst>
            </p:cNvPr>
            <p:cNvSpPr/>
            <p:nvPr/>
          </p:nvSpPr>
          <p:spPr>
            <a:xfrm>
              <a:off x="2223009" y="3045923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072" y="0"/>
                  </a:moveTo>
                  <a:lnTo>
                    <a:pt x="0" y="90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2" name="object 74">
              <a:extLst>
                <a:ext uri="{FF2B5EF4-FFF2-40B4-BE49-F238E27FC236}">
                  <a16:creationId xmlns:a16="http://schemas.microsoft.com/office/drawing/2014/main" id="{8949C0EA-96B2-E34E-967C-0193C26E148A}"/>
                </a:ext>
              </a:extLst>
            </p:cNvPr>
            <p:cNvSpPr/>
            <p:nvPr/>
          </p:nvSpPr>
          <p:spPr>
            <a:xfrm>
              <a:off x="2313007" y="3135921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073" y="0"/>
                  </a:moveTo>
                  <a:lnTo>
                    <a:pt x="0" y="81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3" name="object 75">
              <a:extLst>
                <a:ext uri="{FF2B5EF4-FFF2-40B4-BE49-F238E27FC236}">
                  <a16:creationId xmlns:a16="http://schemas.microsoft.com/office/drawing/2014/main" id="{8B6748BE-9770-2D41-9B48-3DBB5F759CEE}"/>
                </a:ext>
              </a:extLst>
            </p:cNvPr>
            <p:cNvSpPr/>
            <p:nvPr/>
          </p:nvSpPr>
          <p:spPr>
            <a:xfrm>
              <a:off x="2403007" y="3225921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70">
                  <a:moveTo>
                    <a:pt x="725073" y="0"/>
                  </a:moveTo>
                  <a:lnTo>
                    <a:pt x="0" y="72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4" name="object 76">
              <a:extLst>
                <a:ext uri="{FF2B5EF4-FFF2-40B4-BE49-F238E27FC236}">
                  <a16:creationId xmlns:a16="http://schemas.microsoft.com/office/drawing/2014/main" id="{5E3C89FF-68E7-514C-A7D8-C1430607FEC5}"/>
                </a:ext>
              </a:extLst>
            </p:cNvPr>
            <p:cNvSpPr/>
            <p:nvPr/>
          </p:nvSpPr>
          <p:spPr>
            <a:xfrm>
              <a:off x="2493008" y="3315923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072" y="0"/>
                  </a:moveTo>
                  <a:lnTo>
                    <a:pt x="0" y="63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5" name="object 77">
              <a:extLst>
                <a:ext uri="{FF2B5EF4-FFF2-40B4-BE49-F238E27FC236}">
                  <a16:creationId xmlns:a16="http://schemas.microsoft.com/office/drawing/2014/main" id="{E5B5B152-5CC6-084D-BC9D-C35288DD6660}"/>
                </a:ext>
              </a:extLst>
            </p:cNvPr>
            <p:cNvSpPr/>
            <p:nvPr/>
          </p:nvSpPr>
          <p:spPr>
            <a:xfrm>
              <a:off x="2583008" y="3405923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072" y="0"/>
                  </a:moveTo>
                  <a:lnTo>
                    <a:pt x="0" y="54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6" name="object 78">
              <a:extLst>
                <a:ext uri="{FF2B5EF4-FFF2-40B4-BE49-F238E27FC236}">
                  <a16:creationId xmlns:a16="http://schemas.microsoft.com/office/drawing/2014/main" id="{D53FEFFC-81B0-1E4C-8FEF-7541D20A5B99}"/>
                </a:ext>
              </a:extLst>
            </p:cNvPr>
            <p:cNvSpPr/>
            <p:nvPr/>
          </p:nvSpPr>
          <p:spPr>
            <a:xfrm>
              <a:off x="2673008" y="3495922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5">
                  <a:moveTo>
                    <a:pt x="455073" y="0"/>
                  </a:moveTo>
                  <a:lnTo>
                    <a:pt x="0" y="45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7" name="object 79">
              <a:extLst>
                <a:ext uri="{FF2B5EF4-FFF2-40B4-BE49-F238E27FC236}">
                  <a16:creationId xmlns:a16="http://schemas.microsoft.com/office/drawing/2014/main" id="{27874570-5CAA-7647-AF94-289568BF1703}"/>
                </a:ext>
              </a:extLst>
            </p:cNvPr>
            <p:cNvSpPr/>
            <p:nvPr/>
          </p:nvSpPr>
          <p:spPr>
            <a:xfrm>
              <a:off x="2763007" y="3585921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074" y="0"/>
                  </a:moveTo>
                  <a:lnTo>
                    <a:pt x="0" y="36507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8" name="object 80">
              <a:extLst>
                <a:ext uri="{FF2B5EF4-FFF2-40B4-BE49-F238E27FC236}">
                  <a16:creationId xmlns:a16="http://schemas.microsoft.com/office/drawing/2014/main" id="{E019B054-9AE8-B849-83E6-081F09CF6C99}"/>
                </a:ext>
              </a:extLst>
            </p:cNvPr>
            <p:cNvSpPr/>
            <p:nvPr/>
          </p:nvSpPr>
          <p:spPr>
            <a:xfrm>
              <a:off x="2853008" y="3675922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073" y="0"/>
                  </a:moveTo>
                  <a:lnTo>
                    <a:pt x="0" y="27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69" name="object 81">
              <a:extLst>
                <a:ext uri="{FF2B5EF4-FFF2-40B4-BE49-F238E27FC236}">
                  <a16:creationId xmlns:a16="http://schemas.microsoft.com/office/drawing/2014/main" id="{78308392-CF80-6B4A-9928-AF611975B6A7}"/>
                </a:ext>
              </a:extLst>
            </p:cNvPr>
            <p:cNvSpPr/>
            <p:nvPr/>
          </p:nvSpPr>
          <p:spPr>
            <a:xfrm>
              <a:off x="2943009" y="3765923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20">
                  <a:moveTo>
                    <a:pt x="185071" y="0"/>
                  </a:moveTo>
                  <a:lnTo>
                    <a:pt x="0" y="185071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70" name="object 82">
              <a:extLst>
                <a:ext uri="{FF2B5EF4-FFF2-40B4-BE49-F238E27FC236}">
                  <a16:creationId xmlns:a16="http://schemas.microsoft.com/office/drawing/2014/main" id="{84E6B99F-542A-6848-9169-81108ABF1868}"/>
                </a:ext>
              </a:extLst>
            </p:cNvPr>
            <p:cNvSpPr/>
            <p:nvPr/>
          </p:nvSpPr>
          <p:spPr>
            <a:xfrm>
              <a:off x="3033009" y="3855922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072" y="0"/>
                  </a:moveTo>
                  <a:lnTo>
                    <a:pt x="0" y="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71" name="object 83">
              <a:extLst>
                <a:ext uri="{FF2B5EF4-FFF2-40B4-BE49-F238E27FC236}">
                  <a16:creationId xmlns:a16="http://schemas.microsoft.com/office/drawing/2014/main" id="{85400F89-3A28-E047-A060-0E4DC4BC784F}"/>
                </a:ext>
              </a:extLst>
            </p:cNvPr>
            <p:cNvSpPr/>
            <p:nvPr/>
          </p:nvSpPr>
          <p:spPr>
            <a:xfrm>
              <a:off x="3123008" y="3945922"/>
              <a:ext cx="5080" cy="5080"/>
            </a:xfrm>
            <a:custGeom>
              <a:avLst/>
              <a:gdLst/>
              <a:ahLst/>
              <a:cxnLst/>
              <a:rect l="l" t="t" r="r" b="b"/>
              <a:pathLst>
                <a:path w="5079" h="5079">
                  <a:moveTo>
                    <a:pt x="5072" y="0"/>
                  </a:moveTo>
                  <a:lnTo>
                    <a:pt x="0" y="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</p:grp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E77E59B2-6099-7C4D-8F14-46B1CE1E3A3D}"/>
              </a:ext>
            </a:extLst>
          </p:cNvPr>
          <p:cNvGrpSpPr/>
          <p:nvPr/>
        </p:nvGrpSpPr>
        <p:grpSpPr>
          <a:xfrm>
            <a:off x="9118950" y="1678626"/>
            <a:ext cx="1234781" cy="2376612"/>
            <a:chOff x="1893907" y="1574990"/>
            <a:chExt cx="1234781" cy="2376612"/>
          </a:xfrm>
        </p:grpSpPr>
        <p:sp>
          <p:nvSpPr>
            <p:cNvPr id="178" name="object 43">
              <a:extLst>
                <a:ext uri="{FF2B5EF4-FFF2-40B4-BE49-F238E27FC236}">
                  <a16:creationId xmlns:a16="http://schemas.microsoft.com/office/drawing/2014/main" id="{B2B3826F-FD61-D746-A88C-A169B7566B88}"/>
                </a:ext>
              </a:extLst>
            </p:cNvPr>
            <p:cNvSpPr/>
            <p:nvPr/>
          </p:nvSpPr>
          <p:spPr>
            <a:xfrm>
              <a:off x="1893908" y="1574990"/>
              <a:ext cx="5715" cy="5715"/>
            </a:xfrm>
            <a:custGeom>
              <a:avLst/>
              <a:gdLst/>
              <a:ahLst/>
              <a:cxnLst/>
              <a:rect l="l" t="t" r="r" b="b"/>
              <a:pathLst>
                <a:path w="5714" h="5715">
                  <a:moveTo>
                    <a:pt x="5105" y="0"/>
                  </a:moveTo>
                  <a:lnTo>
                    <a:pt x="0" y="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79" name="object 44">
              <a:extLst>
                <a:ext uri="{FF2B5EF4-FFF2-40B4-BE49-F238E27FC236}">
                  <a16:creationId xmlns:a16="http://schemas.microsoft.com/office/drawing/2014/main" id="{2461171A-815E-C04A-BD01-86A1AB90DC05}"/>
                </a:ext>
              </a:extLst>
            </p:cNvPr>
            <p:cNvSpPr/>
            <p:nvPr/>
          </p:nvSpPr>
          <p:spPr>
            <a:xfrm>
              <a:off x="1893908" y="1574990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104" y="0"/>
                  </a:moveTo>
                  <a:lnTo>
                    <a:pt x="0" y="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0" name="object 45">
              <a:extLst>
                <a:ext uri="{FF2B5EF4-FFF2-40B4-BE49-F238E27FC236}">
                  <a16:creationId xmlns:a16="http://schemas.microsoft.com/office/drawing/2014/main" id="{42A84ADA-A0B7-434F-BC8B-1D0B9D1A6351}"/>
                </a:ext>
              </a:extLst>
            </p:cNvPr>
            <p:cNvSpPr/>
            <p:nvPr/>
          </p:nvSpPr>
          <p:spPr>
            <a:xfrm>
              <a:off x="1893908" y="1574990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19">
                  <a:moveTo>
                    <a:pt x="185106" y="0"/>
                  </a:moveTo>
                  <a:lnTo>
                    <a:pt x="0" y="185106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1" name="object 46">
              <a:extLst>
                <a:ext uri="{FF2B5EF4-FFF2-40B4-BE49-F238E27FC236}">
                  <a16:creationId xmlns:a16="http://schemas.microsoft.com/office/drawing/2014/main" id="{472CABEF-4ED8-DA40-8E82-4E5AB1B0EFC6}"/>
                </a:ext>
              </a:extLst>
            </p:cNvPr>
            <p:cNvSpPr/>
            <p:nvPr/>
          </p:nvSpPr>
          <p:spPr>
            <a:xfrm>
              <a:off x="1893908" y="1574990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105" y="0"/>
                  </a:moveTo>
                  <a:lnTo>
                    <a:pt x="0" y="2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2" name="object 47">
              <a:extLst>
                <a:ext uri="{FF2B5EF4-FFF2-40B4-BE49-F238E27FC236}">
                  <a16:creationId xmlns:a16="http://schemas.microsoft.com/office/drawing/2014/main" id="{3F1C59FD-E5F4-A14F-ADCD-B6A4ABB5F9AB}"/>
                </a:ext>
              </a:extLst>
            </p:cNvPr>
            <p:cNvSpPr/>
            <p:nvPr/>
          </p:nvSpPr>
          <p:spPr>
            <a:xfrm>
              <a:off x="1893908" y="1574990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105" y="0"/>
                  </a:moveTo>
                  <a:lnTo>
                    <a:pt x="0" y="36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3" name="object 48">
              <a:extLst>
                <a:ext uri="{FF2B5EF4-FFF2-40B4-BE49-F238E27FC236}">
                  <a16:creationId xmlns:a16="http://schemas.microsoft.com/office/drawing/2014/main" id="{74501A27-96A5-9A44-9B9C-A43280214F55}"/>
                </a:ext>
              </a:extLst>
            </p:cNvPr>
            <p:cNvSpPr/>
            <p:nvPr/>
          </p:nvSpPr>
          <p:spPr>
            <a:xfrm>
              <a:off x="1893908" y="1574990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4">
                  <a:moveTo>
                    <a:pt x="455105" y="0"/>
                  </a:moveTo>
                  <a:lnTo>
                    <a:pt x="0" y="45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4" name="object 49">
              <a:extLst>
                <a:ext uri="{FF2B5EF4-FFF2-40B4-BE49-F238E27FC236}">
                  <a16:creationId xmlns:a16="http://schemas.microsoft.com/office/drawing/2014/main" id="{0B423E20-6654-394D-8300-EE82287DA384}"/>
                </a:ext>
              </a:extLst>
            </p:cNvPr>
            <p:cNvSpPr/>
            <p:nvPr/>
          </p:nvSpPr>
          <p:spPr>
            <a:xfrm>
              <a:off x="1893908" y="1574990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105" y="0"/>
                  </a:moveTo>
                  <a:lnTo>
                    <a:pt x="0" y="54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5" name="object 50">
              <a:extLst>
                <a:ext uri="{FF2B5EF4-FFF2-40B4-BE49-F238E27FC236}">
                  <a16:creationId xmlns:a16="http://schemas.microsoft.com/office/drawing/2014/main" id="{9C5D256D-5549-F243-A107-940BA6F16D4D}"/>
                </a:ext>
              </a:extLst>
            </p:cNvPr>
            <p:cNvSpPr/>
            <p:nvPr/>
          </p:nvSpPr>
          <p:spPr>
            <a:xfrm>
              <a:off x="1893908" y="1574990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105" y="0"/>
                  </a:moveTo>
                  <a:lnTo>
                    <a:pt x="0" y="63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6" name="object 51">
              <a:extLst>
                <a:ext uri="{FF2B5EF4-FFF2-40B4-BE49-F238E27FC236}">
                  <a16:creationId xmlns:a16="http://schemas.microsoft.com/office/drawing/2014/main" id="{3DB8CAFE-13D1-9E49-87DC-9D2F7F1BED6C}"/>
                </a:ext>
              </a:extLst>
            </p:cNvPr>
            <p:cNvSpPr/>
            <p:nvPr/>
          </p:nvSpPr>
          <p:spPr>
            <a:xfrm>
              <a:off x="1893908" y="1574990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69">
                  <a:moveTo>
                    <a:pt x="725105" y="0"/>
                  </a:moveTo>
                  <a:lnTo>
                    <a:pt x="0" y="72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7" name="object 52">
              <a:extLst>
                <a:ext uri="{FF2B5EF4-FFF2-40B4-BE49-F238E27FC236}">
                  <a16:creationId xmlns:a16="http://schemas.microsoft.com/office/drawing/2014/main" id="{6BA07D83-5790-3B4F-A847-09F65018C7C8}"/>
                </a:ext>
              </a:extLst>
            </p:cNvPr>
            <p:cNvSpPr/>
            <p:nvPr/>
          </p:nvSpPr>
          <p:spPr>
            <a:xfrm>
              <a:off x="1893908" y="1574990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104" y="0"/>
                  </a:moveTo>
                  <a:lnTo>
                    <a:pt x="0" y="81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8" name="object 53">
              <a:extLst>
                <a:ext uri="{FF2B5EF4-FFF2-40B4-BE49-F238E27FC236}">
                  <a16:creationId xmlns:a16="http://schemas.microsoft.com/office/drawing/2014/main" id="{25EEC007-B86A-6D4A-87E5-88DD502B95AE}"/>
                </a:ext>
              </a:extLst>
            </p:cNvPr>
            <p:cNvSpPr/>
            <p:nvPr/>
          </p:nvSpPr>
          <p:spPr>
            <a:xfrm>
              <a:off x="1893908" y="1574990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104" y="0"/>
                  </a:moveTo>
                  <a:lnTo>
                    <a:pt x="0" y="90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89" name="object 54">
              <a:extLst>
                <a:ext uri="{FF2B5EF4-FFF2-40B4-BE49-F238E27FC236}">
                  <a16:creationId xmlns:a16="http://schemas.microsoft.com/office/drawing/2014/main" id="{68A98556-1517-1648-A645-13E4D771D7B6}"/>
                </a:ext>
              </a:extLst>
            </p:cNvPr>
            <p:cNvSpPr/>
            <p:nvPr/>
          </p:nvSpPr>
          <p:spPr>
            <a:xfrm>
              <a:off x="1893908" y="1574990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80">
                  <a:moveTo>
                    <a:pt x="995104" y="0"/>
                  </a:moveTo>
                  <a:lnTo>
                    <a:pt x="0" y="99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0" name="object 55">
              <a:extLst>
                <a:ext uri="{FF2B5EF4-FFF2-40B4-BE49-F238E27FC236}">
                  <a16:creationId xmlns:a16="http://schemas.microsoft.com/office/drawing/2014/main" id="{B20CADA0-16AE-3143-B9E4-2D958D202D02}"/>
                </a:ext>
              </a:extLst>
            </p:cNvPr>
            <p:cNvSpPr/>
            <p:nvPr/>
          </p:nvSpPr>
          <p:spPr>
            <a:xfrm>
              <a:off x="1893908" y="1574990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104" y="0"/>
                  </a:moveTo>
                  <a:lnTo>
                    <a:pt x="0" y="108510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1" name="object 56">
              <a:extLst>
                <a:ext uri="{FF2B5EF4-FFF2-40B4-BE49-F238E27FC236}">
                  <a16:creationId xmlns:a16="http://schemas.microsoft.com/office/drawing/2014/main" id="{F101A3E2-9A82-1240-BDC0-A55668C78061}"/>
                </a:ext>
              </a:extLst>
            </p:cNvPr>
            <p:cNvSpPr/>
            <p:nvPr/>
          </p:nvSpPr>
          <p:spPr>
            <a:xfrm>
              <a:off x="1893907" y="1574990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105" y="0"/>
                  </a:moveTo>
                  <a:lnTo>
                    <a:pt x="0" y="1175105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2" name="object 57">
              <a:extLst>
                <a:ext uri="{FF2B5EF4-FFF2-40B4-BE49-F238E27FC236}">
                  <a16:creationId xmlns:a16="http://schemas.microsoft.com/office/drawing/2014/main" id="{FD427DA9-9EE7-F447-8C76-EAC64B49DD5A}"/>
                </a:ext>
              </a:extLst>
            </p:cNvPr>
            <p:cNvSpPr/>
            <p:nvPr/>
          </p:nvSpPr>
          <p:spPr>
            <a:xfrm>
              <a:off x="1893907" y="160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3" name="object 58">
              <a:extLst>
                <a:ext uri="{FF2B5EF4-FFF2-40B4-BE49-F238E27FC236}">
                  <a16:creationId xmlns:a16="http://schemas.microsoft.com/office/drawing/2014/main" id="{281358CD-39E6-A14E-A6E1-DDADB5D21863}"/>
                </a:ext>
              </a:extLst>
            </p:cNvPr>
            <p:cNvSpPr/>
            <p:nvPr/>
          </p:nvSpPr>
          <p:spPr>
            <a:xfrm>
              <a:off x="1893908" y="16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4" name="object 59">
              <a:extLst>
                <a:ext uri="{FF2B5EF4-FFF2-40B4-BE49-F238E27FC236}">
                  <a16:creationId xmlns:a16="http://schemas.microsoft.com/office/drawing/2014/main" id="{FD0B6425-F2CD-BF4E-9503-BB848322659C}"/>
                </a:ext>
              </a:extLst>
            </p:cNvPr>
            <p:cNvSpPr/>
            <p:nvPr/>
          </p:nvSpPr>
          <p:spPr>
            <a:xfrm>
              <a:off x="1893908" y="178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5" name="object 60">
              <a:extLst>
                <a:ext uri="{FF2B5EF4-FFF2-40B4-BE49-F238E27FC236}">
                  <a16:creationId xmlns:a16="http://schemas.microsoft.com/office/drawing/2014/main" id="{A63967E4-2A62-9349-B673-05FB720638F7}"/>
                </a:ext>
              </a:extLst>
            </p:cNvPr>
            <p:cNvSpPr/>
            <p:nvPr/>
          </p:nvSpPr>
          <p:spPr>
            <a:xfrm>
              <a:off x="1893908" y="187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6" name="object 61">
              <a:extLst>
                <a:ext uri="{FF2B5EF4-FFF2-40B4-BE49-F238E27FC236}">
                  <a16:creationId xmlns:a16="http://schemas.microsoft.com/office/drawing/2014/main" id="{680A562C-E771-3C4A-8F17-E1E3EBF5A10A}"/>
                </a:ext>
              </a:extLst>
            </p:cNvPr>
            <p:cNvSpPr/>
            <p:nvPr/>
          </p:nvSpPr>
          <p:spPr>
            <a:xfrm>
              <a:off x="1893907" y="196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7" name="object 62">
              <a:extLst>
                <a:ext uri="{FF2B5EF4-FFF2-40B4-BE49-F238E27FC236}">
                  <a16:creationId xmlns:a16="http://schemas.microsoft.com/office/drawing/2014/main" id="{E8372582-026F-854B-BB01-A3178A1D5429}"/>
                </a:ext>
              </a:extLst>
            </p:cNvPr>
            <p:cNvSpPr/>
            <p:nvPr/>
          </p:nvSpPr>
          <p:spPr>
            <a:xfrm>
              <a:off x="1893908" y="2055921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8" name="object 63">
              <a:extLst>
                <a:ext uri="{FF2B5EF4-FFF2-40B4-BE49-F238E27FC236}">
                  <a16:creationId xmlns:a16="http://schemas.microsoft.com/office/drawing/2014/main" id="{D71D9CF7-07FE-D14C-98CC-5803F7D74792}"/>
                </a:ext>
              </a:extLst>
            </p:cNvPr>
            <p:cNvSpPr/>
            <p:nvPr/>
          </p:nvSpPr>
          <p:spPr>
            <a:xfrm>
              <a:off x="1893908" y="214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199" name="object 64">
              <a:extLst>
                <a:ext uri="{FF2B5EF4-FFF2-40B4-BE49-F238E27FC236}">
                  <a16:creationId xmlns:a16="http://schemas.microsoft.com/office/drawing/2014/main" id="{9BC41889-E968-A142-B998-52DE46FE7B6B}"/>
                </a:ext>
              </a:extLst>
            </p:cNvPr>
            <p:cNvSpPr/>
            <p:nvPr/>
          </p:nvSpPr>
          <p:spPr>
            <a:xfrm>
              <a:off x="1893908" y="2235923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0" name="object 65">
              <a:extLst>
                <a:ext uri="{FF2B5EF4-FFF2-40B4-BE49-F238E27FC236}">
                  <a16:creationId xmlns:a16="http://schemas.microsoft.com/office/drawing/2014/main" id="{75F060B9-476C-C740-BB48-7EBD181EA4CF}"/>
                </a:ext>
              </a:extLst>
            </p:cNvPr>
            <p:cNvSpPr/>
            <p:nvPr/>
          </p:nvSpPr>
          <p:spPr>
            <a:xfrm>
              <a:off x="1893908" y="232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1" name="object 66">
              <a:extLst>
                <a:ext uri="{FF2B5EF4-FFF2-40B4-BE49-F238E27FC236}">
                  <a16:creationId xmlns:a16="http://schemas.microsoft.com/office/drawing/2014/main" id="{CE25D568-F2BC-9846-BD32-FED82D3B1601}"/>
                </a:ext>
              </a:extLst>
            </p:cNvPr>
            <p:cNvSpPr/>
            <p:nvPr/>
          </p:nvSpPr>
          <p:spPr>
            <a:xfrm>
              <a:off x="1893908" y="2415920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2" name="object 67">
              <a:extLst>
                <a:ext uri="{FF2B5EF4-FFF2-40B4-BE49-F238E27FC236}">
                  <a16:creationId xmlns:a16="http://schemas.microsoft.com/office/drawing/2014/main" id="{45EB276F-2BD5-0441-802B-4CE0A589E430}"/>
                </a:ext>
              </a:extLst>
            </p:cNvPr>
            <p:cNvSpPr/>
            <p:nvPr/>
          </p:nvSpPr>
          <p:spPr>
            <a:xfrm>
              <a:off x="1893907" y="250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3" name="object 68">
              <a:extLst>
                <a:ext uri="{FF2B5EF4-FFF2-40B4-BE49-F238E27FC236}">
                  <a16:creationId xmlns:a16="http://schemas.microsoft.com/office/drawing/2014/main" id="{330C9A96-DE59-9940-A3B4-B01AEB063613}"/>
                </a:ext>
              </a:extLst>
            </p:cNvPr>
            <p:cNvSpPr/>
            <p:nvPr/>
          </p:nvSpPr>
          <p:spPr>
            <a:xfrm>
              <a:off x="1893908" y="2595922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4" name="object 69">
              <a:extLst>
                <a:ext uri="{FF2B5EF4-FFF2-40B4-BE49-F238E27FC236}">
                  <a16:creationId xmlns:a16="http://schemas.microsoft.com/office/drawing/2014/main" id="{8B76AC6F-D5D3-334D-8A65-CD9F57C3D091}"/>
                </a:ext>
              </a:extLst>
            </p:cNvPr>
            <p:cNvSpPr/>
            <p:nvPr/>
          </p:nvSpPr>
          <p:spPr>
            <a:xfrm>
              <a:off x="1893907" y="2685924"/>
              <a:ext cx="1234440" cy="1234440"/>
            </a:xfrm>
            <a:custGeom>
              <a:avLst/>
              <a:gdLst/>
              <a:ahLst/>
              <a:cxnLst/>
              <a:rect l="l" t="t" r="r" b="b"/>
              <a:pathLst>
                <a:path w="1234439" h="1234439">
                  <a:moveTo>
                    <a:pt x="1234173" y="0"/>
                  </a:moveTo>
                  <a:lnTo>
                    <a:pt x="0" y="12341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5" name="object 70">
              <a:extLst>
                <a:ext uri="{FF2B5EF4-FFF2-40B4-BE49-F238E27FC236}">
                  <a16:creationId xmlns:a16="http://schemas.microsoft.com/office/drawing/2014/main" id="{33CD7E9E-7947-7848-8925-CACD12FA4E42}"/>
                </a:ext>
              </a:extLst>
            </p:cNvPr>
            <p:cNvSpPr/>
            <p:nvPr/>
          </p:nvSpPr>
          <p:spPr>
            <a:xfrm>
              <a:off x="1953008" y="2775922"/>
              <a:ext cx="1175385" cy="1175385"/>
            </a:xfrm>
            <a:custGeom>
              <a:avLst/>
              <a:gdLst/>
              <a:ahLst/>
              <a:cxnLst/>
              <a:rect l="l" t="t" r="r" b="b"/>
              <a:pathLst>
                <a:path w="1175385" h="1175385">
                  <a:moveTo>
                    <a:pt x="1175072" y="0"/>
                  </a:moveTo>
                  <a:lnTo>
                    <a:pt x="0" y="117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6" name="object 71">
              <a:extLst>
                <a:ext uri="{FF2B5EF4-FFF2-40B4-BE49-F238E27FC236}">
                  <a16:creationId xmlns:a16="http://schemas.microsoft.com/office/drawing/2014/main" id="{4C4B616F-D198-E74D-93F8-DF5F24DAC3DF}"/>
                </a:ext>
              </a:extLst>
            </p:cNvPr>
            <p:cNvSpPr/>
            <p:nvPr/>
          </p:nvSpPr>
          <p:spPr>
            <a:xfrm>
              <a:off x="2043008" y="2865922"/>
              <a:ext cx="1085215" cy="1085215"/>
            </a:xfrm>
            <a:custGeom>
              <a:avLst/>
              <a:gdLst/>
              <a:ahLst/>
              <a:cxnLst/>
              <a:rect l="l" t="t" r="r" b="b"/>
              <a:pathLst>
                <a:path w="1085214" h="1085214">
                  <a:moveTo>
                    <a:pt x="1085072" y="0"/>
                  </a:moveTo>
                  <a:lnTo>
                    <a:pt x="0" y="108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7" name="object 72">
              <a:extLst>
                <a:ext uri="{FF2B5EF4-FFF2-40B4-BE49-F238E27FC236}">
                  <a16:creationId xmlns:a16="http://schemas.microsoft.com/office/drawing/2014/main" id="{1B246EB7-27F9-734C-8569-A131A46368E8}"/>
                </a:ext>
              </a:extLst>
            </p:cNvPr>
            <p:cNvSpPr/>
            <p:nvPr/>
          </p:nvSpPr>
          <p:spPr>
            <a:xfrm>
              <a:off x="2133008" y="2955922"/>
              <a:ext cx="995680" cy="995680"/>
            </a:xfrm>
            <a:custGeom>
              <a:avLst/>
              <a:gdLst/>
              <a:ahLst/>
              <a:cxnLst/>
              <a:rect l="l" t="t" r="r" b="b"/>
              <a:pathLst>
                <a:path w="995679" h="995679">
                  <a:moveTo>
                    <a:pt x="995072" y="0"/>
                  </a:moveTo>
                  <a:lnTo>
                    <a:pt x="0" y="9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8" name="object 73">
              <a:extLst>
                <a:ext uri="{FF2B5EF4-FFF2-40B4-BE49-F238E27FC236}">
                  <a16:creationId xmlns:a16="http://schemas.microsoft.com/office/drawing/2014/main" id="{0A5D5148-954F-7849-AC29-D2D811626DB1}"/>
                </a:ext>
              </a:extLst>
            </p:cNvPr>
            <p:cNvSpPr/>
            <p:nvPr/>
          </p:nvSpPr>
          <p:spPr>
            <a:xfrm>
              <a:off x="2223009" y="3045923"/>
              <a:ext cx="905510" cy="905510"/>
            </a:xfrm>
            <a:custGeom>
              <a:avLst/>
              <a:gdLst/>
              <a:ahLst/>
              <a:cxnLst/>
              <a:rect l="l" t="t" r="r" b="b"/>
              <a:pathLst>
                <a:path w="905510" h="905510">
                  <a:moveTo>
                    <a:pt x="905072" y="0"/>
                  </a:moveTo>
                  <a:lnTo>
                    <a:pt x="0" y="90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09" name="object 74">
              <a:extLst>
                <a:ext uri="{FF2B5EF4-FFF2-40B4-BE49-F238E27FC236}">
                  <a16:creationId xmlns:a16="http://schemas.microsoft.com/office/drawing/2014/main" id="{3CD56EFF-CB38-E744-BDC7-725CC06FAC00}"/>
                </a:ext>
              </a:extLst>
            </p:cNvPr>
            <p:cNvSpPr/>
            <p:nvPr/>
          </p:nvSpPr>
          <p:spPr>
            <a:xfrm>
              <a:off x="2313007" y="3135921"/>
              <a:ext cx="815340" cy="815340"/>
            </a:xfrm>
            <a:custGeom>
              <a:avLst/>
              <a:gdLst/>
              <a:ahLst/>
              <a:cxnLst/>
              <a:rect l="l" t="t" r="r" b="b"/>
              <a:pathLst>
                <a:path w="815339" h="815339">
                  <a:moveTo>
                    <a:pt x="815073" y="0"/>
                  </a:moveTo>
                  <a:lnTo>
                    <a:pt x="0" y="81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0" name="object 75">
              <a:extLst>
                <a:ext uri="{FF2B5EF4-FFF2-40B4-BE49-F238E27FC236}">
                  <a16:creationId xmlns:a16="http://schemas.microsoft.com/office/drawing/2014/main" id="{96DB0281-99C1-0C40-8DF7-D07F033A181C}"/>
                </a:ext>
              </a:extLst>
            </p:cNvPr>
            <p:cNvSpPr/>
            <p:nvPr/>
          </p:nvSpPr>
          <p:spPr>
            <a:xfrm>
              <a:off x="2403007" y="3225921"/>
              <a:ext cx="725170" cy="725170"/>
            </a:xfrm>
            <a:custGeom>
              <a:avLst/>
              <a:gdLst/>
              <a:ahLst/>
              <a:cxnLst/>
              <a:rect l="l" t="t" r="r" b="b"/>
              <a:pathLst>
                <a:path w="725170" h="725170">
                  <a:moveTo>
                    <a:pt x="725073" y="0"/>
                  </a:moveTo>
                  <a:lnTo>
                    <a:pt x="0" y="72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1" name="object 76">
              <a:extLst>
                <a:ext uri="{FF2B5EF4-FFF2-40B4-BE49-F238E27FC236}">
                  <a16:creationId xmlns:a16="http://schemas.microsoft.com/office/drawing/2014/main" id="{D77B131E-A465-9743-9370-5DFE347A1997}"/>
                </a:ext>
              </a:extLst>
            </p:cNvPr>
            <p:cNvSpPr/>
            <p:nvPr/>
          </p:nvSpPr>
          <p:spPr>
            <a:xfrm>
              <a:off x="2493008" y="3315923"/>
              <a:ext cx="635635" cy="635635"/>
            </a:xfrm>
            <a:custGeom>
              <a:avLst/>
              <a:gdLst/>
              <a:ahLst/>
              <a:cxnLst/>
              <a:rect l="l" t="t" r="r" b="b"/>
              <a:pathLst>
                <a:path w="635635" h="635635">
                  <a:moveTo>
                    <a:pt x="635072" y="0"/>
                  </a:moveTo>
                  <a:lnTo>
                    <a:pt x="0" y="63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2" name="object 77">
              <a:extLst>
                <a:ext uri="{FF2B5EF4-FFF2-40B4-BE49-F238E27FC236}">
                  <a16:creationId xmlns:a16="http://schemas.microsoft.com/office/drawing/2014/main" id="{296C336A-5538-9B4E-8E21-33C197FFA4C4}"/>
                </a:ext>
              </a:extLst>
            </p:cNvPr>
            <p:cNvSpPr/>
            <p:nvPr/>
          </p:nvSpPr>
          <p:spPr>
            <a:xfrm>
              <a:off x="2583008" y="3405923"/>
              <a:ext cx="545465" cy="545465"/>
            </a:xfrm>
            <a:custGeom>
              <a:avLst/>
              <a:gdLst/>
              <a:ahLst/>
              <a:cxnLst/>
              <a:rect l="l" t="t" r="r" b="b"/>
              <a:pathLst>
                <a:path w="545464" h="545464">
                  <a:moveTo>
                    <a:pt x="545072" y="0"/>
                  </a:moveTo>
                  <a:lnTo>
                    <a:pt x="0" y="54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3" name="object 78">
              <a:extLst>
                <a:ext uri="{FF2B5EF4-FFF2-40B4-BE49-F238E27FC236}">
                  <a16:creationId xmlns:a16="http://schemas.microsoft.com/office/drawing/2014/main" id="{2633C56E-BC3A-C848-A293-8DF4590E6D73}"/>
                </a:ext>
              </a:extLst>
            </p:cNvPr>
            <p:cNvSpPr/>
            <p:nvPr/>
          </p:nvSpPr>
          <p:spPr>
            <a:xfrm>
              <a:off x="2673008" y="3495922"/>
              <a:ext cx="455295" cy="455295"/>
            </a:xfrm>
            <a:custGeom>
              <a:avLst/>
              <a:gdLst/>
              <a:ahLst/>
              <a:cxnLst/>
              <a:rect l="l" t="t" r="r" b="b"/>
              <a:pathLst>
                <a:path w="455295" h="455295">
                  <a:moveTo>
                    <a:pt x="455073" y="0"/>
                  </a:moveTo>
                  <a:lnTo>
                    <a:pt x="0" y="45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4" name="object 79">
              <a:extLst>
                <a:ext uri="{FF2B5EF4-FFF2-40B4-BE49-F238E27FC236}">
                  <a16:creationId xmlns:a16="http://schemas.microsoft.com/office/drawing/2014/main" id="{A8B346AB-B859-6C47-8C33-40109BD76138}"/>
                </a:ext>
              </a:extLst>
            </p:cNvPr>
            <p:cNvSpPr/>
            <p:nvPr/>
          </p:nvSpPr>
          <p:spPr>
            <a:xfrm>
              <a:off x="2763007" y="3585921"/>
              <a:ext cx="365125" cy="365125"/>
            </a:xfrm>
            <a:custGeom>
              <a:avLst/>
              <a:gdLst/>
              <a:ahLst/>
              <a:cxnLst/>
              <a:rect l="l" t="t" r="r" b="b"/>
              <a:pathLst>
                <a:path w="365125" h="365125">
                  <a:moveTo>
                    <a:pt x="365074" y="0"/>
                  </a:moveTo>
                  <a:lnTo>
                    <a:pt x="0" y="365074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5" name="object 80">
              <a:extLst>
                <a:ext uri="{FF2B5EF4-FFF2-40B4-BE49-F238E27FC236}">
                  <a16:creationId xmlns:a16="http://schemas.microsoft.com/office/drawing/2014/main" id="{0C9CC559-8B47-2D4C-9630-2B160C1A5E86}"/>
                </a:ext>
              </a:extLst>
            </p:cNvPr>
            <p:cNvSpPr/>
            <p:nvPr/>
          </p:nvSpPr>
          <p:spPr>
            <a:xfrm>
              <a:off x="2853008" y="3675922"/>
              <a:ext cx="275590" cy="275590"/>
            </a:xfrm>
            <a:custGeom>
              <a:avLst/>
              <a:gdLst/>
              <a:ahLst/>
              <a:cxnLst/>
              <a:rect l="l" t="t" r="r" b="b"/>
              <a:pathLst>
                <a:path w="275589" h="275589">
                  <a:moveTo>
                    <a:pt x="275073" y="0"/>
                  </a:moveTo>
                  <a:lnTo>
                    <a:pt x="0" y="275073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6" name="object 81">
              <a:extLst>
                <a:ext uri="{FF2B5EF4-FFF2-40B4-BE49-F238E27FC236}">
                  <a16:creationId xmlns:a16="http://schemas.microsoft.com/office/drawing/2014/main" id="{03330B4E-8A5A-664D-BDA6-5E6BBA496E88}"/>
                </a:ext>
              </a:extLst>
            </p:cNvPr>
            <p:cNvSpPr/>
            <p:nvPr/>
          </p:nvSpPr>
          <p:spPr>
            <a:xfrm>
              <a:off x="2943009" y="3765923"/>
              <a:ext cx="185420" cy="185420"/>
            </a:xfrm>
            <a:custGeom>
              <a:avLst/>
              <a:gdLst/>
              <a:ahLst/>
              <a:cxnLst/>
              <a:rect l="l" t="t" r="r" b="b"/>
              <a:pathLst>
                <a:path w="185420" h="185420">
                  <a:moveTo>
                    <a:pt x="185071" y="0"/>
                  </a:moveTo>
                  <a:lnTo>
                    <a:pt x="0" y="185071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7" name="object 82">
              <a:extLst>
                <a:ext uri="{FF2B5EF4-FFF2-40B4-BE49-F238E27FC236}">
                  <a16:creationId xmlns:a16="http://schemas.microsoft.com/office/drawing/2014/main" id="{BB2C75B9-9E58-7048-945A-F8FF978A04FF}"/>
                </a:ext>
              </a:extLst>
            </p:cNvPr>
            <p:cNvSpPr/>
            <p:nvPr/>
          </p:nvSpPr>
          <p:spPr>
            <a:xfrm>
              <a:off x="3033009" y="3855922"/>
              <a:ext cx="95250" cy="95250"/>
            </a:xfrm>
            <a:custGeom>
              <a:avLst/>
              <a:gdLst/>
              <a:ahLst/>
              <a:cxnLst/>
              <a:rect l="l" t="t" r="r" b="b"/>
              <a:pathLst>
                <a:path w="95250" h="95250">
                  <a:moveTo>
                    <a:pt x="95072" y="0"/>
                  </a:moveTo>
                  <a:lnTo>
                    <a:pt x="0" y="9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  <p:sp>
          <p:nvSpPr>
            <p:cNvPr id="218" name="object 83">
              <a:extLst>
                <a:ext uri="{FF2B5EF4-FFF2-40B4-BE49-F238E27FC236}">
                  <a16:creationId xmlns:a16="http://schemas.microsoft.com/office/drawing/2014/main" id="{A65520F4-4351-7440-B4DB-B667FBE42363}"/>
                </a:ext>
              </a:extLst>
            </p:cNvPr>
            <p:cNvSpPr/>
            <p:nvPr/>
          </p:nvSpPr>
          <p:spPr>
            <a:xfrm>
              <a:off x="3123008" y="3945922"/>
              <a:ext cx="5080" cy="5080"/>
            </a:xfrm>
            <a:custGeom>
              <a:avLst/>
              <a:gdLst/>
              <a:ahLst/>
              <a:cxnLst/>
              <a:rect l="l" t="t" r="r" b="b"/>
              <a:pathLst>
                <a:path w="5079" h="5079">
                  <a:moveTo>
                    <a:pt x="5072" y="0"/>
                  </a:moveTo>
                  <a:lnTo>
                    <a:pt x="0" y="5072"/>
                  </a:lnTo>
                </a:path>
              </a:pathLst>
            </a:custGeom>
            <a:ln w="6350">
              <a:solidFill>
                <a:srgbClr val="7F9DBE"/>
              </a:solidFill>
            </a:ln>
          </p:spPr>
          <p:txBody>
            <a:bodyPr wrap="square" lIns="0" tIns="0" rIns="0" bIns="0" rtlCol="0"/>
            <a:lstStyle/>
            <a:p>
              <a:endParaRPr lang="en-US" noProof="0" dirty="0"/>
            </a:p>
          </p:txBody>
        </p:sp>
      </p:grpSp>
      <p:grpSp>
        <p:nvGrpSpPr>
          <p:cNvPr id="224" name="Grafik 15">
            <a:extLst>
              <a:ext uri="{FF2B5EF4-FFF2-40B4-BE49-F238E27FC236}">
                <a16:creationId xmlns:a16="http://schemas.microsoft.com/office/drawing/2014/main" id="{FF517D33-093F-2A4A-ADB2-5B32690E46BA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225" name="Grafik 15">
              <a:extLst>
                <a:ext uri="{FF2B5EF4-FFF2-40B4-BE49-F238E27FC236}">
                  <a16:creationId xmlns:a16="http://schemas.microsoft.com/office/drawing/2014/main" id="{D179729D-A788-7740-BEDD-98B2E9EFEA0F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34" name="Freihandform 233">
                <a:extLst>
                  <a:ext uri="{FF2B5EF4-FFF2-40B4-BE49-F238E27FC236}">
                    <a16:creationId xmlns:a16="http://schemas.microsoft.com/office/drawing/2014/main" id="{37A2DF6C-F7E0-B84F-9E5C-8228E2F3FD14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5" name="Freihandform 234">
                <a:extLst>
                  <a:ext uri="{FF2B5EF4-FFF2-40B4-BE49-F238E27FC236}">
                    <a16:creationId xmlns:a16="http://schemas.microsoft.com/office/drawing/2014/main" id="{B4B3DB8C-3B3E-5847-A33B-11678EFF86F4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6" name="Freihandform 235">
                <a:extLst>
                  <a:ext uri="{FF2B5EF4-FFF2-40B4-BE49-F238E27FC236}">
                    <a16:creationId xmlns:a16="http://schemas.microsoft.com/office/drawing/2014/main" id="{5377C38E-86B9-4A4E-B4CC-B4714FCD5CF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7" name="Freihandform 236">
                <a:extLst>
                  <a:ext uri="{FF2B5EF4-FFF2-40B4-BE49-F238E27FC236}">
                    <a16:creationId xmlns:a16="http://schemas.microsoft.com/office/drawing/2014/main" id="{44690ED4-D74B-B64C-8476-91033166C749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2" name="Freihandform 241">
                <a:extLst>
                  <a:ext uri="{FF2B5EF4-FFF2-40B4-BE49-F238E27FC236}">
                    <a16:creationId xmlns:a16="http://schemas.microsoft.com/office/drawing/2014/main" id="{37CB9E74-F0C8-9249-BB03-0270B08E7C1F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226" name="Grafik 15">
              <a:extLst>
                <a:ext uri="{FF2B5EF4-FFF2-40B4-BE49-F238E27FC236}">
                  <a16:creationId xmlns:a16="http://schemas.microsoft.com/office/drawing/2014/main" id="{6F68CD99-78CC-7043-957F-D908526FC725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32" name="Freihandform 231">
                <a:extLst>
                  <a:ext uri="{FF2B5EF4-FFF2-40B4-BE49-F238E27FC236}">
                    <a16:creationId xmlns:a16="http://schemas.microsoft.com/office/drawing/2014/main" id="{82F5C02F-C974-9346-B6E8-53AB937022E3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3" name="Freihandform 232">
                <a:extLst>
                  <a:ext uri="{FF2B5EF4-FFF2-40B4-BE49-F238E27FC236}">
                    <a16:creationId xmlns:a16="http://schemas.microsoft.com/office/drawing/2014/main" id="{3FF3B928-89CE-3041-8EC0-4B4ADC91F688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227" name="Grafik 15">
              <a:extLst>
                <a:ext uri="{FF2B5EF4-FFF2-40B4-BE49-F238E27FC236}">
                  <a16:creationId xmlns:a16="http://schemas.microsoft.com/office/drawing/2014/main" id="{4725B234-6BBA-B54E-93FD-75DEF6160655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228" name="Freihandform 227">
                <a:extLst>
                  <a:ext uri="{FF2B5EF4-FFF2-40B4-BE49-F238E27FC236}">
                    <a16:creationId xmlns:a16="http://schemas.microsoft.com/office/drawing/2014/main" id="{47DBD662-E6AD-8C4B-A067-6B4993AC44E3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9" name="Freihandform 228">
                <a:extLst>
                  <a:ext uri="{FF2B5EF4-FFF2-40B4-BE49-F238E27FC236}">
                    <a16:creationId xmlns:a16="http://schemas.microsoft.com/office/drawing/2014/main" id="{147DB120-D8D1-5846-8AA9-5E0543E2FF09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0" name="Freihandform 229">
                <a:extLst>
                  <a:ext uri="{FF2B5EF4-FFF2-40B4-BE49-F238E27FC236}">
                    <a16:creationId xmlns:a16="http://schemas.microsoft.com/office/drawing/2014/main" id="{20FF6A86-F063-8E4F-A896-20B2C3671435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1" name="Freihandform 230">
                <a:extLst>
                  <a:ext uri="{FF2B5EF4-FFF2-40B4-BE49-F238E27FC236}">
                    <a16:creationId xmlns:a16="http://schemas.microsoft.com/office/drawing/2014/main" id="{6FD699A0-B2BF-4D4F-8FD6-86DA0D475FBD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52B9C49-D22D-074A-BAD8-FD407C8954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25485" y="3852567"/>
            <a:ext cx="1697113" cy="193899"/>
          </a:xfrm>
          <a:solidFill>
            <a:schemeClr val="accent1"/>
          </a:solidFill>
        </p:spPr>
        <p:txBody>
          <a:bodyPr wrap="square" lIns="72000" tIns="0" rIns="72000" bIns="0" anchor="t" anchorCtr="0">
            <a:spAutoFit/>
          </a:bodyPr>
          <a:lstStyle>
            <a:lvl1pPr algn="ctr">
              <a:defRPr sz="1400" b="1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219" name="Textplatzhalter 7">
            <a:extLst>
              <a:ext uri="{FF2B5EF4-FFF2-40B4-BE49-F238E27FC236}">
                <a16:creationId xmlns:a16="http://schemas.microsoft.com/office/drawing/2014/main" id="{F84AFAED-002E-F646-8445-9621EC674F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36176" y="3852567"/>
            <a:ext cx="1697113" cy="193899"/>
          </a:xfrm>
          <a:solidFill>
            <a:schemeClr val="accent1"/>
          </a:solidFill>
        </p:spPr>
        <p:txBody>
          <a:bodyPr wrap="square" lIns="72000" tIns="0" rIns="72000" bIns="0" anchor="t" anchorCtr="0">
            <a:spAutoFit/>
          </a:bodyPr>
          <a:lstStyle>
            <a:lvl1pPr algn="ctr">
              <a:defRPr sz="1400" b="1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247" name="Textplatzhalter 7">
            <a:extLst>
              <a:ext uri="{FF2B5EF4-FFF2-40B4-BE49-F238E27FC236}">
                <a16:creationId xmlns:a16="http://schemas.microsoft.com/office/drawing/2014/main" id="{E203FDE9-858E-CC40-90FA-E82FC2FFFC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69537" y="3852567"/>
            <a:ext cx="1697113" cy="193899"/>
          </a:xfrm>
          <a:solidFill>
            <a:schemeClr val="accent1"/>
          </a:solidFill>
        </p:spPr>
        <p:txBody>
          <a:bodyPr wrap="square" lIns="72000" tIns="0" rIns="72000" bIns="0" anchor="t" anchorCtr="0">
            <a:spAutoFit/>
          </a:bodyPr>
          <a:lstStyle>
            <a:lvl1pPr algn="ctr">
              <a:defRPr sz="1400" b="1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248" name="Textplatzhalter 7">
            <a:extLst>
              <a:ext uri="{FF2B5EF4-FFF2-40B4-BE49-F238E27FC236}">
                <a16:creationId xmlns:a16="http://schemas.microsoft.com/office/drawing/2014/main" id="{23B434D0-4CD4-EF44-87E9-D15B452DC1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87784" y="3852567"/>
            <a:ext cx="1697113" cy="193899"/>
          </a:xfrm>
          <a:solidFill>
            <a:schemeClr val="accent1"/>
          </a:solidFill>
        </p:spPr>
        <p:txBody>
          <a:bodyPr wrap="square" lIns="72000" tIns="0" rIns="72000" bIns="0" anchor="t" anchorCtr="0">
            <a:spAutoFit/>
          </a:bodyPr>
          <a:lstStyle>
            <a:lvl1pPr algn="ctr">
              <a:defRPr sz="1400" b="1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ame surname</a:t>
            </a:r>
          </a:p>
        </p:txBody>
      </p:sp>
      <p:sp>
        <p:nvSpPr>
          <p:cNvPr id="249" name="Textplatzhalter 7">
            <a:extLst>
              <a:ext uri="{FF2B5EF4-FFF2-40B4-BE49-F238E27FC236}">
                <a16:creationId xmlns:a16="http://schemas.microsoft.com/office/drawing/2014/main" id="{3BC2BC6C-4782-7547-B42C-FE5CC3620F5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19074" y="4315113"/>
            <a:ext cx="1709937" cy="152349"/>
          </a:xfrm>
          <a:noFill/>
        </p:spPr>
        <p:txBody>
          <a:bodyPr wrap="none" lIns="72000" tIns="0" rIns="72000" bIns="0">
            <a:spAutoFit/>
          </a:bodyPr>
          <a:lstStyle>
            <a:lvl1pPr algn="ctr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osition / Department</a:t>
            </a:r>
          </a:p>
        </p:txBody>
      </p:sp>
      <p:sp>
        <p:nvSpPr>
          <p:cNvPr id="250" name="Textplatzhalter 7">
            <a:extLst>
              <a:ext uri="{FF2B5EF4-FFF2-40B4-BE49-F238E27FC236}">
                <a16:creationId xmlns:a16="http://schemas.microsoft.com/office/drawing/2014/main" id="{BD9AF82B-1A24-AF45-9548-74808845ACC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29765" y="4315113"/>
            <a:ext cx="1709937" cy="152349"/>
          </a:xfrm>
          <a:noFill/>
        </p:spPr>
        <p:txBody>
          <a:bodyPr wrap="none" lIns="72000" tIns="0" rIns="72000" bIns="0">
            <a:spAutoFit/>
          </a:bodyPr>
          <a:lstStyle>
            <a:lvl1pPr algn="ctr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osition / Department</a:t>
            </a:r>
          </a:p>
        </p:txBody>
      </p:sp>
      <p:sp>
        <p:nvSpPr>
          <p:cNvPr id="251" name="Textplatzhalter 7">
            <a:extLst>
              <a:ext uri="{FF2B5EF4-FFF2-40B4-BE49-F238E27FC236}">
                <a16:creationId xmlns:a16="http://schemas.microsoft.com/office/drawing/2014/main" id="{2E839AEE-ACCC-FD44-A656-9193989129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3126" y="4315113"/>
            <a:ext cx="1709937" cy="152349"/>
          </a:xfrm>
          <a:noFill/>
        </p:spPr>
        <p:txBody>
          <a:bodyPr wrap="none" lIns="72000" tIns="0" rIns="72000" bIns="0">
            <a:spAutoFit/>
          </a:bodyPr>
          <a:lstStyle>
            <a:lvl1pPr algn="ctr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osition / Department</a:t>
            </a:r>
          </a:p>
        </p:txBody>
      </p:sp>
      <p:sp>
        <p:nvSpPr>
          <p:cNvPr id="252" name="Textplatzhalter 7">
            <a:extLst>
              <a:ext uri="{FF2B5EF4-FFF2-40B4-BE49-F238E27FC236}">
                <a16:creationId xmlns:a16="http://schemas.microsoft.com/office/drawing/2014/main" id="{DFC803B6-F57F-4045-9C22-7083647C5B1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1372" y="4315113"/>
            <a:ext cx="1709937" cy="152349"/>
          </a:xfrm>
          <a:noFill/>
        </p:spPr>
        <p:txBody>
          <a:bodyPr wrap="none" lIns="72000" tIns="0" rIns="72000" bIns="0">
            <a:spAutoFit/>
          </a:bodyPr>
          <a:lstStyle>
            <a:lvl1pPr algn="ctr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osition / Department</a:t>
            </a:r>
          </a:p>
        </p:txBody>
      </p:sp>
      <p:sp>
        <p:nvSpPr>
          <p:cNvPr id="253" name="Textplatzhalter 7">
            <a:extLst>
              <a:ext uri="{FF2B5EF4-FFF2-40B4-BE49-F238E27FC236}">
                <a16:creationId xmlns:a16="http://schemas.microsoft.com/office/drawing/2014/main" id="{F1990E97-1DA7-AA4D-BF0F-1898C9668B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455333" y="5291011"/>
            <a:ext cx="2037417" cy="909764"/>
          </a:xfrm>
          <a:noFill/>
        </p:spPr>
        <p:txBody>
          <a:bodyPr wrap="none" lIns="0" tIns="0" rIns="0" bIns="0">
            <a:noAutofit/>
          </a:bodyPr>
          <a:lstStyle>
            <a:lvl1pPr algn="l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254" name="Textplatzhalter 7">
            <a:extLst>
              <a:ext uri="{FF2B5EF4-FFF2-40B4-BE49-F238E27FC236}">
                <a16:creationId xmlns:a16="http://schemas.microsoft.com/office/drawing/2014/main" id="{BE6DF76E-045A-4E42-A592-072D2AB911E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866024" y="5291011"/>
            <a:ext cx="2037417" cy="909764"/>
          </a:xfrm>
          <a:noFill/>
        </p:spPr>
        <p:txBody>
          <a:bodyPr wrap="none" lIns="0" tIns="0" rIns="0" bIns="0">
            <a:noAutofit/>
          </a:bodyPr>
          <a:lstStyle>
            <a:lvl1pPr algn="l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255" name="Textplatzhalter 7">
            <a:extLst>
              <a:ext uri="{FF2B5EF4-FFF2-40B4-BE49-F238E27FC236}">
                <a16:creationId xmlns:a16="http://schemas.microsoft.com/office/drawing/2014/main" id="{EA6F1429-3439-3C4C-A5BF-31D787E09C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99385" y="5291011"/>
            <a:ext cx="2037417" cy="909764"/>
          </a:xfrm>
          <a:noFill/>
        </p:spPr>
        <p:txBody>
          <a:bodyPr wrap="none" lIns="0" tIns="0" rIns="0" bIns="0">
            <a:noAutofit/>
          </a:bodyPr>
          <a:lstStyle>
            <a:lvl1pPr algn="l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256" name="Textplatzhalter 7">
            <a:extLst>
              <a:ext uri="{FF2B5EF4-FFF2-40B4-BE49-F238E27FC236}">
                <a16:creationId xmlns:a16="http://schemas.microsoft.com/office/drawing/2014/main" id="{9E06CC56-9131-7248-A4F7-B35FA5AC1C0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17632" y="5291011"/>
            <a:ext cx="2037417" cy="909764"/>
          </a:xfrm>
          <a:noFill/>
        </p:spPr>
        <p:txBody>
          <a:bodyPr wrap="none" lIns="0" tIns="0" rIns="0" bIns="0">
            <a:noAutofit/>
          </a:bodyPr>
          <a:lstStyle>
            <a:lvl1pPr algn="l">
              <a:defRPr sz="1100" b="0" spc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220" name="Bildplatzhalter 237">
            <a:extLst>
              <a:ext uri="{FF2B5EF4-FFF2-40B4-BE49-F238E27FC236}">
                <a16:creationId xmlns:a16="http://schemas.microsoft.com/office/drawing/2014/main" id="{17F8B3DC-EA49-5846-8345-ED08CD0835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460216" y="1791145"/>
            <a:ext cx="2027651" cy="2027652"/>
          </a:xfrm>
          <a:custGeom>
            <a:avLst/>
            <a:gdLst>
              <a:gd name="connsiteX0" fmla="*/ 1013825 w 2027651"/>
              <a:gd name="connsiteY0" fmla="*/ 149718 h 2027652"/>
              <a:gd name="connsiteX1" fmla="*/ 1877933 w 2027651"/>
              <a:gd name="connsiteY1" fmla="*/ 1013826 h 2027652"/>
              <a:gd name="connsiteX2" fmla="*/ 1013825 w 2027651"/>
              <a:gd name="connsiteY2" fmla="*/ 1877934 h 2027652"/>
              <a:gd name="connsiteX3" fmla="*/ 149717 w 2027651"/>
              <a:gd name="connsiteY3" fmla="*/ 1013826 h 2027652"/>
              <a:gd name="connsiteX4" fmla="*/ 1013825 w 2027651"/>
              <a:gd name="connsiteY4" fmla="*/ 149718 h 2027652"/>
              <a:gd name="connsiteX5" fmla="*/ 2027650 w 2027651"/>
              <a:gd name="connsiteY5" fmla="*/ 1 h 2027652"/>
              <a:gd name="connsiteX6" fmla="*/ 2027651 w 2027651"/>
              <a:gd name="connsiteY6" fmla="*/ 1 h 2027652"/>
              <a:gd name="connsiteX7" fmla="*/ 2027651 w 2027651"/>
              <a:gd name="connsiteY7" fmla="*/ 2027652 h 2027652"/>
              <a:gd name="connsiteX8" fmla="*/ 2027650 w 2027651"/>
              <a:gd name="connsiteY8" fmla="*/ 2027652 h 2027652"/>
              <a:gd name="connsiteX9" fmla="*/ 0 w 2027651"/>
              <a:gd name="connsiteY9" fmla="*/ 0 h 2027652"/>
              <a:gd name="connsiteX10" fmla="*/ 2027650 w 2027651"/>
              <a:gd name="connsiteY10" fmla="*/ 0 h 2027652"/>
              <a:gd name="connsiteX11" fmla="*/ 2027650 w 2027651"/>
              <a:gd name="connsiteY11" fmla="*/ 1 h 2027652"/>
              <a:gd name="connsiteX12" fmla="*/ 0 w 2027651"/>
              <a:gd name="connsiteY12" fmla="*/ 1 h 2027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27651" h="2027652">
                <a:moveTo>
                  <a:pt x="1013825" y="149718"/>
                </a:moveTo>
                <a:cubicBezTo>
                  <a:pt x="1491059" y="149718"/>
                  <a:pt x="1877933" y="536592"/>
                  <a:pt x="1877933" y="1013826"/>
                </a:cubicBezTo>
                <a:cubicBezTo>
                  <a:pt x="1877933" y="1491060"/>
                  <a:pt x="1491059" y="1877934"/>
                  <a:pt x="1013825" y="1877934"/>
                </a:cubicBezTo>
                <a:cubicBezTo>
                  <a:pt x="536591" y="1877934"/>
                  <a:pt x="149717" y="1491060"/>
                  <a:pt x="149717" y="1013826"/>
                </a:cubicBezTo>
                <a:cubicBezTo>
                  <a:pt x="149717" y="536592"/>
                  <a:pt x="536591" y="149718"/>
                  <a:pt x="1013825" y="149718"/>
                </a:cubicBezTo>
                <a:close/>
                <a:moveTo>
                  <a:pt x="2027650" y="1"/>
                </a:moveTo>
                <a:lnTo>
                  <a:pt x="2027651" y="1"/>
                </a:lnTo>
                <a:lnTo>
                  <a:pt x="2027651" y="2027652"/>
                </a:lnTo>
                <a:lnTo>
                  <a:pt x="2027650" y="2027652"/>
                </a:lnTo>
                <a:close/>
                <a:moveTo>
                  <a:pt x="0" y="0"/>
                </a:moveTo>
                <a:lnTo>
                  <a:pt x="2027650" y="0"/>
                </a:lnTo>
                <a:lnTo>
                  <a:pt x="2027650" y="1"/>
                </a:lnTo>
                <a:lnTo>
                  <a:pt x="0" y="1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r>
              <a:rPr lang="en-US" noProof="0" dirty="0"/>
              <a:t>Add a symbol by clicking</a:t>
            </a:r>
          </a:p>
        </p:txBody>
      </p:sp>
      <p:sp>
        <p:nvSpPr>
          <p:cNvPr id="243" name="Bildplatzhalter 238">
            <a:extLst>
              <a:ext uri="{FF2B5EF4-FFF2-40B4-BE49-F238E27FC236}">
                <a16:creationId xmlns:a16="http://schemas.microsoft.com/office/drawing/2014/main" id="{1AB347F4-07FB-6F42-9F9E-0585AF29E37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0907" y="1791145"/>
            <a:ext cx="2027651" cy="2027652"/>
          </a:xfrm>
          <a:custGeom>
            <a:avLst/>
            <a:gdLst>
              <a:gd name="connsiteX0" fmla="*/ 1013825 w 2027651"/>
              <a:gd name="connsiteY0" fmla="*/ 149718 h 2027652"/>
              <a:gd name="connsiteX1" fmla="*/ 1877933 w 2027651"/>
              <a:gd name="connsiteY1" fmla="*/ 1013826 h 2027652"/>
              <a:gd name="connsiteX2" fmla="*/ 1013825 w 2027651"/>
              <a:gd name="connsiteY2" fmla="*/ 1877934 h 2027652"/>
              <a:gd name="connsiteX3" fmla="*/ 149717 w 2027651"/>
              <a:gd name="connsiteY3" fmla="*/ 1013826 h 2027652"/>
              <a:gd name="connsiteX4" fmla="*/ 1013825 w 2027651"/>
              <a:gd name="connsiteY4" fmla="*/ 149718 h 2027652"/>
              <a:gd name="connsiteX5" fmla="*/ 2027650 w 2027651"/>
              <a:gd name="connsiteY5" fmla="*/ 1 h 2027652"/>
              <a:gd name="connsiteX6" fmla="*/ 2027651 w 2027651"/>
              <a:gd name="connsiteY6" fmla="*/ 1 h 2027652"/>
              <a:gd name="connsiteX7" fmla="*/ 2027651 w 2027651"/>
              <a:gd name="connsiteY7" fmla="*/ 2027652 h 2027652"/>
              <a:gd name="connsiteX8" fmla="*/ 2027650 w 2027651"/>
              <a:gd name="connsiteY8" fmla="*/ 2027652 h 2027652"/>
              <a:gd name="connsiteX9" fmla="*/ 0 w 2027651"/>
              <a:gd name="connsiteY9" fmla="*/ 0 h 2027652"/>
              <a:gd name="connsiteX10" fmla="*/ 2027650 w 2027651"/>
              <a:gd name="connsiteY10" fmla="*/ 0 h 2027652"/>
              <a:gd name="connsiteX11" fmla="*/ 2027650 w 2027651"/>
              <a:gd name="connsiteY11" fmla="*/ 1 h 2027652"/>
              <a:gd name="connsiteX12" fmla="*/ 0 w 2027651"/>
              <a:gd name="connsiteY12" fmla="*/ 1 h 2027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27651" h="2027652">
                <a:moveTo>
                  <a:pt x="1013825" y="149718"/>
                </a:moveTo>
                <a:cubicBezTo>
                  <a:pt x="1491059" y="149718"/>
                  <a:pt x="1877933" y="536592"/>
                  <a:pt x="1877933" y="1013826"/>
                </a:cubicBezTo>
                <a:cubicBezTo>
                  <a:pt x="1877933" y="1491060"/>
                  <a:pt x="1491059" y="1877934"/>
                  <a:pt x="1013825" y="1877934"/>
                </a:cubicBezTo>
                <a:cubicBezTo>
                  <a:pt x="536591" y="1877934"/>
                  <a:pt x="149717" y="1491060"/>
                  <a:pt x="149717" y="1013826"/>
                </a:cubicBezTo>
                <a:cubicBezTo>
                  <a:pt x="149717" y="536592"/>
                  <a:pt x="536591" y="149718"/>
                  <a:pt x="1013825" y="149718"/>
                </a:cubicBezTo>
                <a:close/>
                <a:moveTo>
                  <a:pt x="2027650" y="1"/>
                </a:moveTo>
                <a:lnTo>
                  <a:pt x="2027651" y="1"/>
                </a:lnTo>
                <a:lnTo>
                  <a:pt x="2027651" y="2027652"/>
                </a:lnTo>
                <a:lnTo>
                  <a:pt x="2027650" y="2027652"/>
                </a:lnTo>
                <a:close/>
                <a:moveTo>
                  <a:pt x="0" y="0"/>
                </a:moveTo>
                <a:lnTo>
                  <a:pt x="2027650" y="0"/>
                </a:lnTo>
                <a:lnTo>
                  <a:pt x="2027650" y="1"/>
                </a:lnTo>
                <a:lnTo>
                  <a:pt x="0" y="1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r>
              <a:rPr lang="en-US" noProof="0" dirty="0"/>
              <a:t>Add a symbol by clicking</a:t>
            </a:r>
          </a:p>
        </p:txBody>
      </p:sp>
      <p:sp>
        <p:nvSpPr>
          <p:cNvPr id="244" name="Bildplatzhalter 239">
            <a:extLst>
              <a:ext uri="{FF2B5EF4-FFF2-40B4-BE49-F238E27FC236}">
                <a16:creationId xmlns:a16="http://schemas.microsoft.com/office/drawing/2014/main" id="{8AFE3185-53D3-B144-AEA2-6BADC2B66B6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04268" y="1791145"/>
            <a:ext cx="2027651" cy="2027652"/>
          </a:xfrm>
          <a:custGeom>
            <a:avLst/>
            <a:gdLst>
              <a:gd name="connsiteX0" fmla="*/ 1013825 w 2027651"/>
              <a:gd name="connsiteY0" fmla="*/ 149718 h 2027652"/>
              <a:gd name="connsiteX1" fmla="*/ 1877933 w 2027651"/>
              <a:gd name="connsiteY1" fmla="*/ 1013826 h 2027652"/>
              <a:gd name="connsiteX2" fmla="*/ 1013825 w 2027651"/>
              <a:gd name="connsiteY2" fmla="*/ 1877934 h 2027652"/>
              <a:gd name="connsiteX3" fmla="*/ 149717 w 2027651"/>
              <a:gd name="connsiteY3" fmla="*/ 1013826 h 2027652"/>
              <a:gd name="connsiteX4" fmla="*/ 1013825 w 2027651"/>
              <a:gd name="connsiteY4" fmla="*/ 149718 h 2027652"/>
              <a:gd name="connsiteX5" fmla="*/ 2027650 w 2027651"/>
              <a:gd name="connsiteY5" fmla="*/ 1 h 2027652"/>
              <a:gd name="connsiteX6" fmla="*/ 2027651 w 2027651"/>
              <a:gd name="connsiteY6" fmla="*/ 1 h 2027652"/>
              <a:gd name="connsiteX7" fmla="*/ 2027651 w 2027651"/>
              <a:gd name="connsiteY7" fmla="*/ 2027652 h 2027652"/>
              <a:gd name="connsiteX8" fmla="*/ 2027650 w 2027651"/>
              <a:gd name="connsiteY8" fmla="*/ 2027652 h 2027652"/>
              <a:gd name="connsiteX9" fmla="*/ 0 w 2027651"/>
              <a:gd name="connsiteY9" fmla="*/ 0 h 2027652"/>
              <a:gd name="connsiteX10" fmla="*/ 2027650 w 2027651"/>
              <a:gd name="connsiteY10" fmla="*/ 0 h 2027652"/>
              <a:gd name="connsiteX11" fmla="*/ 2027650 w 2027651"/>
              <a:gd name="connsiteY11" fmla="*/ 1 h 2027652"/>
              <a:gd name="connsiteX12" fmla="*/ 0 w 2027651"/>
              <a:gd name="connsiteY12" fmla="*/ 1 h 2027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27651" h="2027652">
                <a:moveTo>
                  <a:pt x="1013825" y="149718"/>
                </a:moveTo>
                <a:cubicBezTo>
                  <a:pt x="1491059" y="149718"/>
                  <a:pt x="1877933" y="536592"/>
                  <a:pt x="1877933" y="1013826"/>
                </a:cubicBezTo>
                <a:cubicBezTo>
                  <a:pt x="1877933" y="1491060"/>
                  <a:pt x="1491059" y="1877934"/>
                  <a:pt x="1013825" y="1877934"/>
                </a:cubicBezTo>
                <a:cubicBezTo>
                  <a:pt x="536591" y="1877934"/>
                  <a:pt x="149717" y="1491060"/>
                  <a:pt x="149717" y="1013826"/>
                </a:cubicBezTo>
                <a:cubicBezTo>
                  <a:pt x="149717" y="536592"/>
                  <a:pt x="536591" y="149718"/>
                  <a:pt x="1013825" y="149718"/>
                </a:cubicBezTo>
                <a:close/>
                <a:moveTo>
                  <a:pt x="2027650" y="1"/>
                </a:moveTo>
                <a:lnTo>
                  <a:pt x="2027651" y="1"/>
                </a:lnTo>
                <a:lnTo>
                  <a:pt x="2027651" y="2027652"/>
                </a:lnTo>
                <a:lnTo>
                  <a:pt x="2027650" y="2027652"/>
                </a:lnTo>
                <a:close/>
                <a:moveTo>
                  <a:pt x="0" y="0"/>
                </a:moveTo>
                <a:lnTo>
                  <a:pt x="2027650" y="0"/>
                </a:lnTo>
                <a:lnTo>
                  <a:pt x="2027650" y="1"/>
                </a:lnTo>
                <a:lnTo>
                  <a:pt x="0" y="1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r>
              <a:rPr lang="en-US" noProof="0" dirty="0"/>
              <a:t>Add a symbol by clicking</a:t>
            </a:r>
          </a:p>
        </p:txBody>
      </p:sp>
      <p:sp>
        <p:nvSpPr>
          <p:cNvPr id="245" name="Bildplatzhalter 240">
            <a:extLst>
              <a:ext uri="{FF2B5EF4-FFF2-40B4-BE49-F238E27FC236}">
                <a16:creationId xmlns:a16="http://schemas.microsoft.com/office/drawing/2014/main" id="{60335D86-E61D-9A45-831D-FC9AE802BE0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722515" y="1791145"/>
            <a:ext cx="2027651" cy="2027652"/>
          </a:xfrm>
          <a:custGeom>
            <a:avLst/>
            <a:gdLst>
              <a:gd name="connsiteX0" fmla="*/ 1013825 w 2027651"/>
              <a:gd name="connsiteY0" fmla="*/ 149718 h 2027652"/>
              <a:gd name="connsiteX1" fmla="*/ 1877933 w 2027651"/>
              <a:gd name="connsiteY1" fmla="*/ 1013826 h 2027652"/>
              <a:gd name="connsiteX2" fmla="*/ 1013825 w 2027651"/>
              <a:gd name="connsiteY2" fmla="*/ 1877934 h 2027652"/>
              <a:gd name="connsiteX3" fmla="*/ 149717 w 2027651"/>
              <a:gd name="connsiteY3" fmla="*/ 1013826 h 2027652"/>
              <a:gd name="connsiteX4" fmla="*/ 1013825 w 2027651"/>
              <a:gd name="connsiteY4" fmla="*/ 149718 h 2027652"/>
              <a:gd name="connsiteX5" fmla="*/ 2027650 w 2027651"/>
              <a:gd name="connsiteY5" fmla="*/ 1 h 2027652"/>
              <a:gd name="connsiteX6" fmla="*/ 2027651 w 2027651"/>
              <a:gd name="connsiteY6" fmla="*/ 1 h 2027652"/>
              <a:gd name="connsiteX7" fmla="*/ 2027651 w 2027651"/>
              <a:gd name="connsiteY7" fmla="*/ 2027652 h 2027652"/>
              <a:gd name="connsiteX8" fmla="*/ 2027650 w 2027651"/>
              <a:gd name="connsiteY8" fmla="*/ 2027652 h 2027652"/>
              <a:gd name="connsiteX9" fmla="*/ 0 w 2027651"/>
              <a:gd name="connsiteY9" fmla="*/ 0 h 2027652"/>
              <a:gd name="connsiteX10" fmla="*/ 2027650 w 2027651"/>
              <a:gd name="connsiteY10" fmla="*/ 0 h 2027652"/>
              <a:gd name="connsiteX11" fmla="*/ 2027650 w 2027651"/>
              <a:gd name="connsiteY11" fmla="*/ 1 h 2027652"/>
              <a:gd name="connsiteX12" fmla="*/ 0 w 2027651"/>
              <a:gd name="connsiteY12" fmla="*/ 1 h 2027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27651" h="2027652">
                <a:moveTo>
                  <a:pt x="1013825" y="149718"/>
                </a:moveTo>
                <a:cubicBezTo>
                  <a:pt x="1491059" y="149718"/>
                  <a:pt x="1877933" y="536592"/>
                  <a:pt x="1877933" y="1013826"/>
                </a:cubicBezTo>
                <a:cubicBezTo>
                  <a:pt x="1877933" y="1491060"/>
                  <a:pt x="1491059" y="1877934"/>
                  <a:pt x="1013825" y="1877934"/>
                </a:cubicBezTo>
                <a:cubicBezTo>
                  <a:pt x="536591" y="1877934"/>
                  <a:pt x="149717" y="1491060"/>
                  <a:pt x="149717" y="1013826"/>
                </a:cubicBezTo>
                <a:cubicBezTo>
                  <a:pt x="149717" y="536592"/>
                  <a:pt x="536591" y="149718"/>
                  <a:pt x="1013825" y="149718"/>
                </a:cubicBezTo>
                <a:close/>
                <a:moveTo>
                  <a:pt x="2027650" y="1"/>
                </a:moveTo>
                <a:lnTo>
                  <a:pt x="2027651" y="1"/>
                </a:lnTo>
                <a:lnTo>
                  <a:pt x="2027651" y="2027652"/>
                </a:lnTo>
                <a:lnTo>
                  <a:pt x="2027650" y="2027652"/>
                </a:lnTo>
                <a:close/>
                <a:moveTo>
                  <a:pt x="0" y="0"/>
                </a:moveTo>
                <a:lnTo>
                  <a:pt x="2027650" y="0"/>
                </a:lnTo>
                <a:lnTo>
                  <a:pt x="2027650" y="1"/>
                </a:lnTo>
                <a:lnTo>
                  <a:pt x="0" y="1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r>
              <a:rPr lang="en-US" noProof="0" dirty="0"/>
              <a:t>Add a symbol by clicking</a:t>
            </a:r>
          </a:p>
        </p:txBody>
      </p:sp>
      <p:sp>
        <p:nvSpPr>
          <p:cNvPr id="221" name="Titel 1">
            <a:extLst>
              <a:ext uri="{FF2B5EF4-FFF2-40B4-BE49-F238E27FC236}">
                <a16:creationId xmlns:a16="http://schemas.microsoft.com/office/drawing/2014/main" id="{29D81285-3BE1-2946-9AEB-C381ED3E55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22" name="Textplatzhalter 9">
            <a:extLst>
              <a:ext uri="{FF2B5EF4-FFF2-40B4-BE49-F238E27FC236}">
                <a16:creationId xmlns:a16="http://schemas.microsoft.com/office/drawing/2014/main" id="{20D330AF-7A06-6B47-9AC9-F04A8E837F5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D1C2BD2-EFD9-8840-BEB9-FA767710808D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F0BA84-9A5C-F946-9D2F-6B6CA59BBF4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216D2F-9A54-174B-B3FA-8E4F1658AD7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44416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afik 15">
            <a:extLst>
              <a:ext uri="{FF2B5EF4-FFF2-40B4-BE49-F238E27FC236}">
                <a16:creationId xmlns:a16="http://schemas.microsoft.com/office/drawing/2014/main" id="{D9B39BC7-81F4-EF40-B19F-70354A0E0DAD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34" name="Grafik 15">
              <a:extLst>
                <a:ext uri="{FF2B5EF4-FFF2-40B4-BE49-F238E27FC236}">
                  <a16:creationId xmlns:a16="http://schemas.microsoft.com/office/drawing/2014/main" id="{5D73C433-554C-874B-BDFC-ECE372ECEDC7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43" name="Freihandform 42">
                <a:extLst>
                  <a:ext uri="{FF2B5EF4-FFF2-40B4-BE49-F238E27FC236}">
                    <a16:creationId xmlns:a16="http://schemas.microsoft.com/office/drawing/2014/main" id="{C1C5E031-BD62-5945-9E97-1DE4F1A0F98C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4" name="Freihandform 43">
                <a:extLst>
                  <a:ext uri="{FF2B5EF4-FFF2-40B4-BE49-F238E27FC236}">
                    <a16:creationId xmlns:a16="http://schemas.microsoft.com/office/drawing/2014/main" id="{40463F22-32A3-F54C-8BF2-587F9E6A0585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5" name="Freihandform 44">
                <a:extLst>
                  <a:ext uri="{FF2B5EF4-FFF2-40B4-BE49-F238E27FC236}">
                    <a16:creationId xmlns:a16="http://schemas.microsoft.com/office/drawing/2014/main" id="{8F4D61E6-0D53-1142-98C4-E2F5E321386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6" name="Freihandform 45">
                <a:extLst>
                  <a:ext uri="{FF2B5EF4-FFF2-40B4-BE49-F238E27FC236}">
                    <a16:creationId xmlns:a16="http://schemas.microsoft.com/office/drawing/2014/main" id="{2F7DCD74-E812-C545-9FD9-1854B600362B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7" name="Freihandform 46">
                <a:extLst>
                  <a:ext uri="{FF2B5EF4-FFF2-40B4-BE49-F238E27FC236}">
                    <a16:creationId xmlns:a16="http://schemas.microsoft.com/office/drawing/2014/main" id="{1EE09B63-BD2A-CA41-B78E-C2C1262B4808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5" name="Grafik 15">
              <a:extLst>
                <a:ext uri="{FF2B5EF4-FFF2-40B4-BE49-F238E27FC236}">
                  <a16:creationId xmlns:a16="http://schemas.microsoft.com/office/drawing/2014/main" id="{69CE933A-B0CD-C642-A77F-713125BA6797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2C5EE9DE-9F2D-0042-8616-ADD0C68B2805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0D01ACF0-FA71-7447-A8A3-C0298CBCBB97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6" name="Grafik 15">
              <a:extLst>
                <a:ext uri="{FF2B5EF4-FFF2-40B4-BE49-F238E27FC236}">
                  <a16:creationId xmlns:a16="http://schemas.microsoft.com/office/drawing/2014/main" id="{07B82135-CF36-B244-8FEC-E6A8B895BEDA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DFBFD448-0E82-2A43-A8E1-1448E1E84941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6DE66FAE-5D46-7445-99AC-A286781AED10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5BB0FF97-2631-4049-BD88-03231C713D9F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1FE1B98F-F127-6A41-A85F-F3D2490E422C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48" name="Inhaltsplatzhalter 6">
            <a:extLst>
              <a:ext uri="{FF2B5EF4-FFF2-40B4-BE49-F238E27FC236}">
                <a16:creationId xmlns:a16="http://schemas.microsoft.com/office/drawing/2014/main" id="{0564E7E3-3A42-2C49-88F9-8EACFCE2CDCD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80353" y="1781912"/>
            <a:ext cx="2444750" cy="164141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50" name="Inhaltsplatzhalter 6">
            <a:extLst>
              <a:ext uri="{FF2B5EF4-FFF2-40B4-BE49-F238E27FC236}">
                <a16:creationId xmlns:a16="http://schemas.microsoft.com/office/drawing/2014/main" id="{C1F58FA4-CBFA-0F41-97A3-7A30BC13EF4A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379158" y="4132984"/>
            <a:ext cx="2444750" cy="17510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53" name="Inhaltsplatzhalter 6">
            <a:extLst>
              <a:ext uri="{FF2B5EF4-FFF2-40B4-BE49-F238E27FC236}">
                <a16:creationId xmlns:a16="http://schemas.microsoft.com/office/drawing/2014/main" id="{594CD82D-874B-1947-BD97-9110DF40F25A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3216721" y="4127540"/>
            <a:ext cx="2444750" cy="17510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4" name="Inhaltsplatzhalter 6">
            <a:extLst>
              <a:ext uri="{FF2B5EF4-FFF2-40B4-BE49-F238E27FC236}">
                <a16:creationId xmlns:a16="http://schemas.microsoft.com/office/drawing/2014/main" id="{CA79D9C6-5593-A94F-BC75-B2DF13449A94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037008" y="4132984"/>
            <a:ext cx="2444750" cy="175101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4"/>
            <a:endParaRPr lang="en-US" noProof="0" dirty="0"/>
          </a:p>
        </p:txBody>
      </p:sp>
      <p:sp>
        <p:nvSpPr>
          <p:cNvPr id="30" name="Inhaltsplatzhalter 6">
            <a:extLst>
              <a:ext uri="{FF2B5EF4-FFF2-40B4-BE49-F238E27FC236}">
                <a16:creationId xmlns:a16="http://schemas.microsoft.com/office/drawing/2014/main" id="{19D38710-8CA3-CF46-9226-BF8A9E87A74C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904033" y="5414940"/>
            <a:ext cx="2444750" cy="302978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marL="97155" algn="ctr">
              <a:lnSpc>
                <a:spcPct val="100000"/>
              </a:lnSpc>
              <a:spcBef>
                <a:spcPts val="430"/>
              </a:spcBef>
            </a:pPr>
            <a:r>
              <a:rPr lang="en-US" sz="1600" spc="15" noProof="0" dirty="0">
                <a:solidFill>
                  <a:srgbClr val="737573"/>
                </a:solidFill>
                <a:latin typeface="+mn-lt"/>
                <a:cs typeface="Verdana"/>
              </a:rPr>
              <a:t>Add text</a:t>
            </a:r>
            <a:endParaRPr lang="en-US" sz="1400" baseline="32000" noProof="0" dirty="0">
              <a:latin typeface="+mn-lt"/>
              <a:cs typeface="Verdana"/>
            </a:endParaRP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9FE70469-D2CF-F54D-8857-99669A3EFDE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35019" y="4184458"/>
            <a:ext cx="2780042" cy="1315768"/>
          </a:xfrm>
        </p:spPr>
        <p:txBody>
          <a:bodyPr wrap="square" anchor="ctr" anchorCtr="0">
            <a:noAutofit/>
          </a:bodyPr>
          <a:lstStyle>
            <a:lvl1pPr algn="ctr">
              <a:defRPr sz="9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03283527-78C1-0A49-BD51-A69E9D9206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52" name="Textplatzhalter 9">
            <a:extLst>
              <a:ext uri="{FF2B5EF4-FFF2-40B4-BE49-F238E27FC236}">
                <a16:creationId xmlns:a16="http://schemas.microsoft.com/office/drawing/2014/main" id="{CC868230-9ACB-8849-BC57-6A57948C5F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49" name="Bildplatzhalter 5">
            <a:extLst>
              <a:ext uri="{FF2B5EF4-FFF2-40B4-BE49-F238E27FC236}">
                <a16:creationId xmlns:a16="http://schemas.microsoft.com/office/drawing/2014/main" id="{52A7B9EB-3C1A-2745-A43F-A541DCF08F2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203065" y="0"/>
            <a:ext cx="8988935" cy="3429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Image</a:t>
            </a:r>
          </a:p>
          <a:p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F9F69FE-3832-C147-AA0D-AC58EC2B8B5B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5924AB3-90FC-094D-930E-2D4C7F7A9DAA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3F74439-06A3-6641-A438-A6DE5E5CFD7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536013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afik 15">
            <a:extLst>
              <a:ext uri="{FF2B5EF4-FFF2-40B4-BE49-F238E27FC236}">
                <a16:creationId xmlns:a16="http://schemas.microsoft.com/office/drawing/2014/main" id="{49944344-C9CC-D046-A4B4-4319549147B9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8" name="Grafik 15">
              <a:extLst>
                <a:ext uri="{FF2B5EF4-FFF2-40B4-BE49-F238E27FC236}">
                  <a16:creationId xmlns:a16="http://schemas.microsoft.com/office/drawing/2014/main" id="{DD87EC10-BCFB-E246-B27A-F7C34AF90416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3" name="Freihandform 32">
                <a:extLst>
                  <a:ext uri="{FF2B5EF4-FFF2-40B4-BE49-F238E27FC236}">
                    <a16:creationId xmlns:a16="http://schemas.microsoft.com/office/drawing/2014/main" id="{B93B46C2-910B-F34A-903B-D9B42CF71993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4" name="Freihandform 33">
                <a:extLst>
                  <a:ext uri="{FF2B5EF4-FFF2-40B4-BE49-F238E27FC236}">
                    <a16:creationId xmlns:a16="http://schemas.microsoft.com/office/drawing/2014/main" id="{75A894E7-9274-784B-860B-069A7D62A758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5" name="Freihandform 34">
                <a:extLst>
                  <a:ext uri="{FF2B5EF4-FFF2-40B4-BE49-F238E27FC236}">
                    <a16:creationId xmlns:a16="http://schemas.microsoft.com/office/drawing/2014/main" id="{82A17960-53EC-5C43-A7CC-F02619CA3934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6" name="Freihandform 35">
                <a:extLst>
                  <a:ext uri="{FF2B5EF4-FFF2-40B4-BE49-F238E27FC236}">
                    <a16:creationId xmlns:a16="http://schemas.microsoft.com/office/drawing/2014/main" id="{88463905-4434-0243-9299-D4A8C22DFF89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91CD82CD-9B46-D345-A84F-BF4858991693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20" name="Grafik 15">
              <a:extLst>
                <a:ext uri="{FF2B5EF4-FFF2-40B4-BE49-F238E27FC236}">
                  <a16:creationId xmlns:a16="http://schemas.microsoft.com/office/drawing/2014/main" id="{5C5220E1-2C5B-E942-B7A2-7210A281937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00ACB67E-F449-9647-84DF-923468FA3A88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5656C5DE-B600-2C4E-8B97-A3DECEB685E2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21" name="Grafik 15">
              <a:extLst>
                <a:ext uri="{FF2B5EF4-FFF2-40B4-BE49-F238E27FC236}">
                  <a16:creationId xmlns:a16="http://schemas.microsoft.com/office/drawing/2014/main" id="{375EE697-7A3B-BD45-907D-4DEB70BAB37A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E6C60BE2-1E66-754B-8EF2-74B6B6EF7609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326BE66D-4BF8-4C43-BE0F-EF51C3A15924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87AFCA34-4F13-804C-B94E-AE50FEA5CBFB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FA1316FA-E57A-C740-B848-D319ED488D3C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6D61E466-7EDD-0E4D-9F4C-893C3FEBD39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1484313"/>
            <a:ext cx="3046413" cy="4546599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AC26A37D-F9A7-C64A-BC2C-D1FE1907B87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29125" y="1484313"/>
            <a:ext cx="3046413" cy="45466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2" name="Inhaltsplatzhalter 6">
            <a:extLst>
              <a:ext uri="{FF2B5EF4-FFF2-40B4-BE49-F238E27FC236}">
                <a16:creationId xmlns:a16="http://schemas.microsoft.com/office/drawing/2014/main" id="{6ADF1445-427F-CC4B-A00D-D014EF689E88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8904033" y="1631972"/>
            <a:ext cx="2444750" cy="302978"/>
          </a:xfrm>
        </p:spPr>
        <p:txBody>
          <a:bodyPr/>
          <a:lstStyle>
            <a:lvl1pPr algn="ctr">
              <a:defRPr/>
            </a:lvl1pPr>
          </a:lstStyle>
          <a:p>
            <a:pPr marL="97155" algn="ctr">
              <a:lnSpc>
                <a:spcPct val="100000"/>
              </a:lnSpc>
              <a:spcBef>
                <a:spcPts val="430"/>
              </a:spcBef>
            </a:pPr>
            <a:r>
              <a:rPr lang="en-US" sz="1600" spc="15" noProof="0" dirty="0">
                <a:solidFill>
                  <a:srgbClr val="737573"/>
                </a:solidFill>
                <a:latin typeface="+mn-lt"/>
                <a:cs typeface="Verdana"/>
              </a:rPr>
              <a:t>Add text</a:t>
            </a:r>
            <a:endParaRPr lang="en-US" sz="1400" baseline="32000" noProof="0" dirty="0">
              <a:latin typeface="+mn-lt"/>
              <a:cs typeface="Verdana"/>
            </a:endParaRPr>
          </a:p>
        </p:txBody>
      </p:sp>
      <p:sp>
        <p:nvSpPr>
          <p:cNvPr id="32" name="Titel 1">
            <a:extLst>
              <a:ext uri="{FF2B5EF4-FFF2-40B4-BE49-F238E27FC236}">
                <a16:creationId xmlns:a16="http://schemas.microsoft.com/office/drawing/2014/main" id="{5E19FFE6-3360-554C-A4DA-B02D27B9CA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9" name="Textplatzhalter 9">
            <a:extLst>
              <a:ext uri="{FF2B5EF4-FFF2-40B4-BE49-F238E27FC236}">
                <a16:creationId xmlns:a16="http://schemas.microsoft.com/office/drawing/2014/main" id="{4F876458-35D1-1945-8981-027C4B065AB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2A82530F-32E5-9E4D-8F46-1FA2FCA998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35019" y="441325"/>
            <a:ext cx="2780042" cy="1315768"/>
          </a:xfrm>
        </p:spPr>
        <p:txBody>
          <a:bodyPr wrap="square" anchor="ctr" anchorCtr="0">
            <a:noAutofit/>
          </a:bodyPr>
          <a:lstStyle>
            <a:lvl1pPr algn="ctr">
              <a:defRPr sz="9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D29B07-B610-054E-9EA2-7BEA32B7B86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C093FBE-7E9E-4B47-A1D8-34CBF90E015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D4B994-46B8-6443-A456-EDCD7458E0F9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76267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fik 15">
            <a:extLst>
              <a:ext uri="{FF2B5EF4-FFF2-40B4-BE49-F238E27FC236}">
                <a16:creationId xmlns:a16="http://schemas.microsoft.com/office/drawing/2014/main" id="{28189031-B46A-2A4E-8B40-273427C232A4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6" name="Grafik 15">
              <a:extLst>
                <a:ext uri="{FF2B5EF4-FFF2-40B4-BE49-F238E27FC236}">
                  <a16:creationId xmlns:a16="http://schemas.microsoft.com/office/drawing/2014/main" id="{323EBD1F-4355-2849-A6C3-C4B3CC7BC3C4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E6C42CD6-7033-B94A-A915-505B1C18D730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4391B9D4-AF97-0E4E-9629-EF86468A21AE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0909EF90-1E57-4D4B-A5D4-B5866D83456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C8B47DF8-9EAA-004F-8584-21E44054F580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B1A43172-2F6C-404C-9B0B-576B80F14B3C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7" name="Grafik 15">
              <a:extLst>
                <a:ext uri="{FF2B5EF4-FFF2-40B4-BE49-F238E27FC236}">
                  <a16:creationId xmlns:a16="http://schemas.microsoft.com/office/drawing/2014/main" id="{6574A44F-E4CF-3E4D-89E6-9CF54F5428F1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9924ED96-D59D-BC40-ADA4-E5FA46CB8161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6163F3D6-E83A-DE41-AAF6-B8FB177AC086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8" name="Grafik 15">
              <a:extLst>
                <a:ext uri="{FF2B5EF4-FFF2-40B4-BE49-F238E27FC236}">
                  <a16:creationId xmlns:a16="http://schemas.microsoft.com/office/drawing/2014/main" id="{6D317B27-7C7C-2043-9488-5BB2D1C5AC73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25A537EF-7B18-3348-8B5D-D611615329B8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DF1AB186-611A-2F4C-BAD1-35702948A906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2F014675-41A4-434E-8D8E-2C1EA971E8C8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A12A9336-6722-194F-B0FF-6D20E8449C2A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2" name="Inhaltsplatzhalter 6">
            <a:extLst>
              <a:ext uri="{FF2B5EF4-FFF2-40B4-BE49-F238E27FC236}">
                <a16:creationId xmlns:a16="http://schemas.microsoft.com/office/drawing/2014/main" id="{138CD48C-9F47-AE43-92E4-D7D43849F3D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1165006" y="3454436"/>
            <a:ext cx="2444750" cy="302978"/>
          </a:xfrm>
        </p:spPr>
        <p:txBody>
          <a:bodyPr/>
          <a:lstStyle>
            <a:lvl1pPr algn="ctr">
              <a:defRPr/>
            </a:lvl1pPr>
          </a:lstStyle>
          <a:p>
            <a:pPr marL="97155" algn="ctr">
              <a:lnSpc>
                <a:spcPct val="100000"/>
              </a:lnSpc>
              <a:spcBef>
                <a:spcPts val="430"/>
              </a:spcBef>
            </a:pPr>
            <a:r>
              <a:rPr lang="en-US" sz="1600" spc="15" noProof="0" dirty="0">
                <a:solidFill>
                  <a:srgbClr val="737573"/>
                </a:solidFill>
                <a:latin typeface="+mn-lt"/>
                <a:cs typeface="Verdana"/>
              </a:rPr>
              <a:t>Add text</a:t>
            </a:r>
            <a:endParaRPr lang="en-US" sz="1400" baseline="32000" noProof="0" dirty="0">
              <a:latin typeface="+mn-lt"/>
              <a:cs typeface="Verdana"/>
            </a:endParaRPr>
          </a:p>
        </p:txBody>
      </p:sp>
      <p:sp>
        <p:nvSpPr>
          <p:cNvPr id="34" name="Inhaltsplatzhalter 6">
            <a:extLst>
              <a:ext uri="{FF2B5EF4-FFF2-40B4-BE49-F238E27FC236}">
                <a16:creationId xmlns:a16="http://schemas.microsoft.com/office/drawing/2014/main" id="{C0A5E607-4AA7-7949-9D20-5F569BDD6896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873625" y="4208883"/>
            <a:ext cx="2444750" cy="302978"/>
          </a:xfrm>
        </p:spPr>
        <p:txBody>
          <a:bodyPr/>
          <a:lstStyle>
            <a:lvl1pPr algn="ctr">
              <a:defRPr/>
            </a:lvl1pPr>
          </a:lstStyle>
          <a:p>
            <a:pPr marL="97155" algn="ctr">
              <a:lnSpc>
                <a:spcPct val="100000"/>
              </a:lnSpc>
              <a:spcBef>
                <a:spcPts val="430"/>
              </a:spcBef>
            </a:pPr>
            <a:r>
              <a:rPr lang="en-US" sz="1600" spc="15" noProof="0" dirty="0">
                <a:solidFill>
                  <a:srgbClr val="737573"/>
                </a:solidFill>
                <a:latin typeface="+mn-lt"/>
                <a:cs typeface="Verdana"/>
              </a:rPr>
              <a:t>Add text</a:t>
            </a:r>
            <a:endParaRPr lang="en-US" sz="1400" baseline="32000" noProof="0" dirty="0">
              <a:latin typeface="+mn-lt"/>
              <a:cs typeface="Verdana"/>
            </a:endParaRPr>
          </a:p>
        </p:txBody>
      </p:sp>
      <p:sp>
        <p:nvSpPr>
          <p:cNvPr id="39" name="Textplatzhalter 38">
            <a:extLst>
              <a:ext uri="{FF2B5EF4-FFF2-40B4-BE49-F238E27FC236}">
                <a16:creationId xmlns:a16="http://schemas.microsoft.com/office/drawing/2014/main" id="{813BC856-4965-EA4C-A54F-72589966460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364538" y="1484313"/>
            <a:ext cx="3455987" cy="471646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0" name="Titel 1">
            <a:extLst>
              <a:ext uri="{FF2B5EF4-FFF2-40B4-BE49-F238E27FC236}">
                <a16:creationId xmlns:a16="http://schemas.microsoft.com/office/drawing/2014/main" id="{5B37131B-5E21-8548-9551-7EB7962735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E6620143-A2D6-CE42-AF94-02E31F5756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4866C2EF-95AC-A343-884D-0C2140B7A1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95992" y="2273512"/>
            <a:ext cx="2780042" cy="1315768"/>
          </a:xfrm>
        </p:spPr>
        <p:txBody>
          <a:bodyPr wrap="square" anchor="ctr" anchorCtr="0">
            <a:noAutofit/>
          </a:bodyPr>
          <a:lstStyle>
            <a:lvl1pPr algn="ctr">
              <a:defRPr sz="9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38A5D7A9-D82B-0B44-B1BF-03A9E6ED8B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697225" y="3023387"/>
            <a:ext cx="2780042" cy="1315768"/>
          </a:xfrm>
        </p:spPr>
        <p:txBody>
          <a:bodyPr wrap="square" anchor="ctr" anchorCtr="0">
            <a:noAutofit/>
          </a:bodyPr>
          <a:lstStyle>
            <a:lvl1pPr algn="ctr">
              <a:defRPr sz="9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3F2533D-AEE2-BD47-B049-677262143C7F}"/>
              </a:ext>
            </a:extLst>
          </p:cNvPr>
          <p:cNvSpPr>
            <a:spLocks noGrp="1"/>
          </p:cNvSpPr>
          <p:nvPr>
            <p:ph type="dt" sz="half" idx="39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416C14-0AE5-404F-8850-7545DC3C1D8B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60AA4F5-7FE4-594E-9667-80D5C1752201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7570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fik 15">
            <a:extLst>
              <a:ext uri="{FF2B5EF4-FFF2-40B4-BE49-F238E27FC236}">
                <a16:creationId xmlns:a16="http://schemas.microsoft.com/office/drawing/2014/main" id="{28189031-B46A-2A4E-8B40-273427C232A4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6" name="Grafik 15">
              <a:extLst>
                <a:ext uri="{FF2B5EF4-FFF2-40B4-BE49-F238E27FC236}">
                  <a16:creationId xmlns:a16="http://schemas.microsoft.com/office/drawing/2014/main" id="{323EBD1F-4355-2849-A6C3-C4B3CC7BC3C4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E6C42CD6-7033-B94A-A915-505B1C18D730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4391B9D4-AF97-0E4E-9629-EF86468A21AE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0909EF90-1E57-4D4B-A5D4-B5866D83456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C8B47DF8-9EAA-004F-8584-21E44054F580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B1A43172-2F6C-404C-9B0B-576B80F14B3C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7" name="Grafik 15">
              <a:extLst>
                <a:ext uri="{FF2B5EF4-FFF2-40B4-BE49-F238E27FC236}">
                  <a16:creationId xmlns:a16="http://schemas.microsoft.com/office/drawing/2014/main" id="{6574A44F-E4CF-3E4D-89E6-9CF54F5428F1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9924ED96-D59D-BC40-ADA4-E5FA46CB8161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6163F3D6-E83A-DE41-AAF6-B8FB177AC086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8" name="Grafik 15">
              <a:extLst>
                <a:ext uri="{FF2B5EF4-FFF2-40B4-BE49-F238E27FC236}">
                  <a16:creationId xmlns:a16="http://schemas.microsoft.com/office/drawing/2014/main" id="{6D317B27-7C7C-2043-9488-5BB2D1C5AC73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25A537EF-7B18-3348-8B5D-D611615329B8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DF1AB186-611A-2F4C-BAD1-35702948A906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2F014675-41A4-434E-8D8E-2C1EA971E8C8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A12A9336-6722-194F-B0FF-6D20E8449C2A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0" name="Titel 1">
            <a:extLst>
              <a:ext uri="{FF2B5EF4-FFF2-40B4-BE49-F238E27FC236}">
                <a16:creationId xmlns:a16="http://schemas.microsoft.com/office/drawing/2014/main" id="{5B37131B-5E21-8548-9551-7EB7962735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E6620143-A2D6-CE42-AF94-02E31F5756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4866C2EF-95AC-A343-884D-0C2140B7A1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5361" y="2322217"/>
            <a:ext cx="3811142" cy="1315768"/>
          </a:xfrm>
        </p:spPr>
        <p:txBody>
          <a:bodyPr wrap="square" anchor="ctr" anchorCtr="0">
            <a:noAutofit/>
          </a:bodyPr>
          <a:lstStyle>
            <a:lvl1pPr algn="ctr">
              <a:defRPr sz="9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38A5D7A9-D82B-0B44-B1BF-03A9E6ED8B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051315" y="5349856"/>
            <a:ext cx="1439234" cy="581545"/>
          </a:xfrm>
        </p:spPr>
        <p:txBody>
          <a:bodyPr wrap="square" anchor="ctr" anchorCtr="0">
            <a:noAutofit/>
          </a:bodyPr>
          <a:lstStyle>
            <a:lvl1pPr algn="ctr">
              <a:defRPr sz="4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3F2533D-AEE2-BD47-B049-677262143C7F}"/>
              </a:ext>
            </a:extLst>
          </p:cNvPr>
          <p:cNvSpPr>
            <a:spLocks noGrp="1"/>
          </p:cNvSpPr>
          <p:nvPr>
            <p:ph type="dt" sz="half" idx="39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416C14-0AE5-404F-8850-7545DC3C1D8B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60AA4F5-7FE4-594E-9667-80D5C1752201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3FBD2987-D830-FE4D-89D0-92B298B9318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30112" y="4377759"/>
            <a:ext cx="1561049" cy="581545"/>
          </a:xfrm>
        </p:spPr>
        <p:txBody>
          <a:bodyPr wrap="square" anchor="ctr" anchorCtr="0">
            <a:noAutofit/>
          </a:bodyPr>
          <a:lstStyle>
            <a:lvl1pPr algn="ctr">
              <a:defRPr sz="3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+XYZ</a:t>
            </a:r>
          </a:p>
        </p:txBody>
      </p:sp>
      <p:sp>
        <p:nvSpPr>
          <p:cNvPr id="35" name="Textplatzhalter 22">
            <a:extLst>
              <a:ext uri="{FF2B5EF4-FFF2-40B4-BE49-F238E27FC236}">
                <a16:creationId xmlns:a16="http://schemas.microsoft.com/office/drawing/2014/main" id="{67988CFD-D2C7-6E49-BCDE-03154EB65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87183" y="1484313"/>
            <a:ext cx="4933340" cy="431800"/>
          </a:xfrm>
        </p:spPr>
        <p:txBody>
          <a:bodyPr anchor="ctr" anchorCtr="0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36" name="Textplatzhalter 22">
            <a:extLst>
              <a:ext uri="{FF2B5EF4-FFF2-40B4-BE49-F238E27FC236}">
                <a16:creationId xmlns:a16="http://schemas.microsoft.com/office/drawing/2014/main" id="{55B0F454-9C16-2B49-B339-8E5C110D1C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87183" y="2034110"/>
            <a:ext cx="4933340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37" name="Textplatzhalter 22">
            <a:extLst>
              <a:ext uri="{FF2B5EF4-FFF2-40B4-BE49-F238E27FC236}">
                <a16:creationId xmlns:a16="http://schemas.microsoft.com/office/drawing/2014/main" id="{68258D2E-F3EA-3342-963A-49883D6CA3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87183" y="2583907"/>
            <a:ext cx="4933340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38" name="Textplatzhalter 22">
            <a:extLst>
              <a:ext uri="{FF2B5EF4-FFF2-40B4-BE49-F238E27FC236}">
                <a16:creationId xmlns:a16="http://schemas.microsoft.com/office/drawing/2014/main" id="{FDB1F310-8895-D041-B951-7EA2E234536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87183" y="3133704"/>
            <a:ext cx="4933340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41" name="Textplatzhalter 22">
            <a:extLst>
              <a:ext uri="{FF2B5EF4-FFF2-40B4-BE49-F238E27FC236}">
                <a16:creationId xmlns:a16="http://schemas.microsoft.com/office/drawing/2014/main" id="{377347D2-3C61-AB43-BFBC-65280AAAB8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87183" y="3683501"/>
            <a:ext cx="4933340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43" name="Textplatzhalter 22">
            <a:extLst>
              <a:ext uri="{FF2B5EF4-FFF2-40B4-BE49-F238E27FC236}">
                <a16:creationId xmlns:a16="http://schemas.microsoft.com/office/drawing/2014/main" id="{7C6A5FD6-5BC7-974A-9832-EABB72440C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87183" y="4233299"/>
            <a:ext cx="4933340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44" name="Textplatzhalter 22">
            <a:extLst>
              <a:ext uri="{FF2B5EF4-FFF2-40B4-BE49-F238E27FC236}">
                <a16:creationId xmlns:a16="http://schemas.microsoft.com/office/drawing/2014/main" id="{376CEFA1-E0FB-584B-9903-D4BA71C9413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887183" y="4775701"/>
            <a:ext cx="4933340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45" name="Textplatzhalter 22">
            <a:extLst>
              <a:ext uri="{FF2B5EF4-FFF2-40B4-BE49-F238E27FC236}">
                <a16:creationId xmlns:a16="http://schemas.microsoft.com/office/drawing/2014/main" id="{04E958E3-2E68-BA40-B5E2-6008569C81F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887183" y="5325499"/>
            <a:ext cx="4933340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46" name="Textplatzhalter 30">
            <a:extLst>
              <a:ext uri="{FF2B5EF4-FFF2-40B4-BE49-F238E27FC236}">
                <a16:creationId xmlns:a16="http://schemas.microsoft.com/office/drawing/2014/main" id="{1F96ECFB-E40D-A441-ACF8-8BDF23E63A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53126" y="1660587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117568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afik 15">
            <a:extLst>
              <a:ext uri="{FF2B5EF4-FFF2-40B4-BE49-F238E27FC236}">
                <a16:creationId xmlns:a16="http://schemas.microsoft.com/office/drawing/2014/main" id="{28189031-B46A-2A4E-8B40-273427C232A4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6" name="Grafik 15">
              <a:extLst>
                <a:ext uri="{FF2B5EF4-FFF2-40B4-BE49-F238E27FC236}">
                  <a16:creationId xmlns:a16="http://schemas.microsoft.com/office/drawing/2014/main" id="{323EBD1F-4355-2849-A6C3-C4B3CC7BC3C4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E6C42CD6-7033-B94A-A915-505B1C18D730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4391B9D4-AF97-0E4E-9629-EF86468A21AE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0909EF90-1E57-4D4B-A5D4-B5866D834569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C8B47DF8-9EAA-004F-8584-21E44054F580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B1A43172-2F6C-404C-9B0B-576B80F14B3C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7" name="Grafik 15">
              <a:extLst>
                <a:ext uri="{FF2B5EF4-FFF2-40B4-BE49-F238E27FC236}">
                  <a16:creationId xmlns:a16="http://schemas.microsoft.com/office/drawing/2014/main" id="{6574A44F-E4CF-3E4D-89E6-9CF54F5428F1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9924ED96-D59D-BC40-ADA4-E5FA46CB8161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6163F3D6-E83A-DE41-AAF6-B8FB177AC086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8" name="Grafik 15">
              <a:extLst>
                <a:ext uri="{FF2B5EF4-FFF2-40B4-BE49-F238E27FC236}">
                  <a16:creationId xmlns:a16="http://schemas.microsoft.com/office/drawing/2014/main" id="{6D317B27-7C7C-2043-9488-5BB2D1C5AC73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25A537EF-7B18-3348-8B5D-D611615329B8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DF1AB186-611A-2F4C-BAD1-35702948A906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2F014675-41A4-434E-8D8E-2C1EA971E8C8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A12A9336-6722-194F-B0FF-6D20E8449C2A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0" name="Titel 1">
            <a:extLst>
              <a:ext uri="{FF2B5EF4-FFF2-40B4-BE49-F238E27FC236}">
                <a16:creationId xmlns:a16="http://schemas.microsoft.com/office/drawing/2014/main" id="{5B37131B-5E21-8548-9551-7EB7962735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E6620143-A2D6-CE42-AF94-02E31F5756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4866C2EF-95AC-A343-884D-0C2140B7A1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65361" y="2322217"/>
            <a:ext cx="3811142" cy="1315768"/>
          </a:xfrm>
        </p:spPr>
        <p:txBody>
          <a:bodyPr wrap="square" anchor="ctr" anchorCtr="0">
            <a:noAutofit/>
          </a:bodyPr>
          <a:lstStyle>
            <a:lvl1pPr algn="ctr">
              <a:defRPr sz="9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42" name="Textplatzhalter 7">
            <a:extLst>
              <a:ext uri="{FF2B5EF4-FFF2-40B4-BE49-F238E27FC236}">
                <a16:creationId xmlns:a16="http://schemas.microsoft.com/office/drawing/2014/main" id="{38A5D7A9-D82B-0B44-B1BF-03A9E6ED8B6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051315" y="5349856"/>
            <a:ext cx="1439234" cy="581545"/>
          </a:xfrm>
        </p:spPr>
        <p:txBody>
          <a:bodyPr wrap="square" anchor="ctr" anchorCtr="0">
            <a:noAutofit/>
          </a:bodyPr>
          <a:lstStyle>
            <a:lvl1pPr algn="ctr">
              <a:defRPr sz="4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3F2533D-AEE2-BD47-B049-677262143C7F}"/>
              </a:ext>
            </a:extLst>
          </p:cNvPr>
          <p:cNvSpPr>
            <a:spLocks noGrp="1"/>
          </p:cNvSpPr>
          <p:nvPr>
            <p:ph type="dt" sz="half" idx="39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416C14-0AE5-404F-8850-7545DC3C1D8B}"/>
              </a:ext>
            </a:extLst>
          </p:cNvPr>
          <p:cNvSpPr>
            <a:spLocks noGrp="1"/>
          </p:cNvSpPr>
          <p:nvPr>
            <p:ph type="ftr" sz="quarter" idx="40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60AA4F5-7FE4-594E-9667-80D5C1752201}"/>
              </a:ext>
            </a:extLst>
          </p:cNvPr>
          <p:cNvSpPr>
            <a:spLocks noGrp="1"/>
          </p:cNvSpPr>
          <p:nvPr>
            <p:ph type="sldNum" sz="quarter" idx="41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3FBD2987-D830-FE4D-89D0-92B298B9318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30112" y="4377759"/>
            <a:ext cx="1561049" cy="581545"/>
          </a:xfrm>
        </p:spPr>
        <p:txBody>
          <a:bodyPr wrap="square" anchor="ctr" anchorCtr="0">
            <a:noAutofit/>
          </a:bodyPr>
          <a:lstStyle>
            <a:lvl1pPr algn="ctr">
              <a:defRPr sz="3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+XYZ</a:t>
            </a:r>
          </a:p>
        </p:txBody>
      </p:sp>
      <p:sp>
        <p:nvSpPr>
          <p:cNvPr id="46" name="Textplatzhalter 30">
            <a:extLst>
              <a:ext uri="{FF2B5EF4-FFF2-40B4-BE49-F238E27FC236}">
                <a16:creationId xmlns:a16="http://schemas.microsoft.com/office/drawing/2014/main" id="{1F96ECFB-E40D-A441-ACF8-8BDF23E63A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53126" y="1660587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33FF00E2-0232-0C43-BE39-5C519E45902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717521" y="2322217"/>
            <a:ext cx="3811142" cy="1315768"/>
          </a:xfrm>
        </p:spPr>
        <p:txBody>
          <a:bodyPr wrap="square" anchor="ctr" anchorCtr="0">
            <a:noAutofit/>
          </a:bodyPr>
          <a:lstStyle>
            <a:lvl1pPr algn="ctr">
              <a:defRPr sz="9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45C72B16-3245-A645-95C2-F957AFD671D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903475" y="5349856"/>
            <a:ext cx="1439234" cy="581545"/>
          </a:xfrm>
        </p:spPr>
        <p:txBody>
          <a:bodyPr wrap="square" anchor="ctr" anchorCtr="0">
            <a:noAutofit/>
          </a:bodyPr>
          <a:lstStyle>
            <a:lvl1pPr algn="ctr">
              <a:defRPr sz="44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XYZ</a:t>
            </a:r>
          </a:p>
        </p:txBody>
      </p:sp>
      <p:sp>
        <p:nvSpPr>
          <p:cNvPr id="47" name="Textplatzhalter 7">
            <a:extLst>
              <a:ext uri="{FF2B5EF4-FFF2-40B4-BE49-F238E27FC236}">
                <a16:creationId xmlns:a16="http://schemas.microsoft.com/office/drawing/2014/main" id="{6585D658-7727-024B-81ED-F186CE4961F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082272" y="4377759"/>
            <a:ext cx="1561049" cy="581545"/>
          </a:xfrm>
        </p:spPr>
        <p:txBody>
          <a:bodyPr wrap="square" anchor="ctr" anchorCtr="0">
            <a:noAutofit/>
          </a:bodyPr>
          <a:lstStyle>
            <a:lvl1pPr algn="ctr">
              <a:defRPr sz="3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+XYZ</a:t>
            </a:r>
          </a:p>
        </p:txBody>
      </p:sp>
      <p:sp>
        <p:nvSpPr>
          <p:cNvPr id="48" name="Textplatzhalter 30">
            <a:extLst>
              <a:ext uri="{FF2B5EF4-FFF2-40B4-BE49-F238E27FC236}">
                <a16:creationId xmlns:a16="http://schemas.microsoft.com/office/drawing/2014/main" id="{4A74E80A-BCD7-3D42-A3DC-113CE023B0D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705286" y="1660587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681022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77F9FAF-0D63-6343-9644-1BA44617732C}"/>
              </a:ext>
            </a:extLst>
          </p:cNvPr>
          <p:cNvSpPr txBox="1">
            <a:spLocks/>
          </p:cNvSpPr>
          <p:nvPr userDrawn="1"/>
        </p:nvSpPr>
        <p:spPr>
          <a:xfrm>
            <a:off x="562003" y="4751331"/>
            <a:ext cx="5712805" cy="927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12700" marR="5080">
              <a:spcBef>
                <a:spcPts val="100"/>
              </a:spcBef>
            </a:pPr>
            <a:endParaRPr lang="en-US" sz="1050" b="1" noProof="0" dirty="0">
              <a:solidFill>
                <a:srgbClr val="003B7D"/>
              </a:solidFill>
              <a:latin typeface="Verdana"/>
              <a:cs typeface="Verdana"/>
            </a:endParaRPr>
          </a:p>
        </p:txBody>
      </p:sp>
      <p:grpSp>
        <p:nvGrpSpPr>
          <p:cNvPr id="14" name="Grafik 15">
            <a:extLst>
              <a:ext uri="{FF2B5EF4-FFF2-40B4-BE49-F238E27FC236}">
                <a16:creationId xmlns:a16="http://schemas.microsoft.com/office/drawing/2014/main" id="{006038E5-1988-E247-9864-D244E3EAC968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5" name="Grafik 15">
              <a:extLst>
                <a:ext uri="{FF2B5EF4-FFF2-40B4-BE49-F238E27FC236}">
                  <a16:creationId xmlns:a16="http://schemas.microsoft.com/office/drawing/2014/main" id="{82F94C23-DA4B-B447-BE0A-F14A61069967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F65E9D2D-F084-7540-82C8-1B852F16A78B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75D6DE0F-58E1-0A43-8A2F-B32A0E8A5C97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9D50D42A-5E0F-A04F-85C8-E3D80C0A2973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3A0EBB1E-F80D-3B45-902A-11843A726FDA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57B471B1-51B9-3C45-AAA2-BBDA6DAD39FE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6" name="Grafik 15">
              <a:extLst>
                <a:ext uri="{FF2B5EF4-FFF2-40B4-BE49-F238E27FC236}">
                  <a16:creationId xmlns:a16="http://schemas.microsoft.com/office/drawing/2014/main" id="{61E2170F-46C7-164D-98C4-9BA86482C955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D99F8EE9-6382-0848-BAC0-9F55BE32E1D0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360F7D5E-5F4A-A54F-90CE-6D12FA79FC0E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7" name="Grafik 15">
              <a:extLst>
                <a:ext uri="{FF2B5EF4-FFF2-40B4-BE49-F238E27FC236}">
                  <a16:creationId xmlns:a16="http://schemas.microsoft.com/office/drawing/2014/main" id="{2CA8DFA1-464A-1144-97C8-DEBCD571DFFD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DE71480A-66FB-8E4F-823B-89A17F6554CA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42F69162-0E88-C24C-A487-AE7724B03D7B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9E4470E7-08CA-BB49-B5D2-4EB66D904210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79BEDDFD-83AD-8A4F-AE54-081B5907FD68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F5FF4670-0B1B-914B-BCCB-B695EA171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1494522"/>
            <a:ext cx="6323793" cy="2486991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259E1EB1-ADA1-224A-A334-3C7B3D4CF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3" name="Textplatzhalter 9">
            <a:extLst>
              <a:ext uri="{FF2B5EF4-FFF2-40B4-BE49-F238E27FC236}">
                <a16:creationId xmlns:a16="http://schemas.microsoft.com/office/drawing/2014/main" id="{9FC2A67F-09D4-1843-B2FF-15E89E4F922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29" name="Textplatzhalter 29">
            <a:extLst>
              <a:ext uri="{FF2B5EF4-FFF2-40B4-BE49-F238E27FC236}">
                <a16:creationId xmlns:a16="http://schemas.microsoft.com/office/drawing/2014/main" id="{48F9F416-61A5-CE4C-9154-82B7242B8DF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475" y="4658140"/>
            <a:ext cx="6323793" cy="1020277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2" name="Bildplatzhalter 5">
            <a:extLst>
              <a:ext uri="{FF2B5EF4-FFF2-40B4-BE49-F238E27FC236}">
                <a16:creationId xmlns:a16="http://schemas.microsoft.com/office/drawing/2014/main" id="{471A57ED-A231-244B-BD52-6446F243C2A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243280" y="0"/>
            <a:ext cx="4948719" cy="6200775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Image</a:t>
            </a:r>
          </a:p>
          <a:p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E7A063F-A1DA-654A-B2E4-A7FCB95F735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AD82138-DA07-144A-B51B-8E6168C1A82A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B87E59-F608-1D4D-B44A-D70D4E6C834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59652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afik 15">
            <a:extLst>
              <a:ext uri="{FF2B5EF4-FFF2-40B4-BE49-F238E27FC236}">
                <a16:creationId xmlns:a16="http://schemas.microsoft.com/office/drawing/2014/main" id="{77FE1F4C-3E66-9744-838C-5129EE95DF8D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30" name="Grafik 15">
              <a:extLst>
                <a:ext uri="{FF2B5EF4-FFF2-40B4-BE49-F238E27FC236}">
                  <a16:creationId xmlns:a16="http://schemas.microsoft.com/office/drawing/2014/main" id="{C1ACDC42-FE26-B648-BE79-577D78F9C908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712D6348-2EF9-D34E-9B4D-CD1E14EED6CE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F07EFB2E-A8D6-B648-965D-6CCF718AC6B6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D3B52303-AC9F-A940-9D7D-F9F6B799EC38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5EEB9ECC-68C3-1649-A7DA-E766EEC9E63D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43" name="Freihandform 42">
                <a:extLst>
                  <a:ext uri="{FF2B5EF4-FFF2-40B4-BE49-F238E27FC236}">
                    <a16:creationId xmlns:a16="http://schemas.microsoft.com/office/drawing/2014/main" id="{F7C67C5F-B1C9-C047-B67E-378B8E37DC8C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1" name="Grafik 15">
              <a:extLst>
                <a:ext uri="{FF2B5EF4-FFF2-40B4-BE49-F238E27FC236}">
                  <a16:creationId xmlns:a16="http://schemas.microsoft.com/office/drawing/2014/main" id="{03FA01B8-6D72-E742-A3F8-88EDE34B3DFF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85AE050A-3562-594E-A89E-1E50DF55EAF1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F34A3E8F-9EE5-4143-840F-39BB589F897D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32" name="Grafik 15">
              <a:extLst>
                <a:ext uri="{FF2B5EF4-FFF2-40B4-BE49-F238E27FC236}">
                  <a16:creationId xmlns:a16="http://schemas.microsoft.com/office/drawing/2014/main" id="{49CA1C5C-33C0-1440-8782-D69625E590F9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3" name="Freihandform 32">
                <a:extLst>
                  <a:ext uri="{FF2B5EF4-FFF2-40B4-BE49-F238E27FC236}">
                    <a16:creationId xmlns:a16="http://schemas.microsoft.com/office/drawing/2014/main" id="{A79216EE-DCC9-F44E-82C6-8C6EDF9355F1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4" name="Freihandform 33">
                <a:extLst>
                  <a:ext uri="{FF2B5EF4-FFF2-40B4-BE49-F238E27FC236}">
                    <a16:creationId xmlns:a16="http://schemas.microsoft.com/office/drawing/2014/main" id="{9EB3E3A0-DAFE-6243-98D3-82AD82685799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5" name="Freihandform 34">
                <a:extLst>
                  <a:ext uri="{FF2B5EF4-FFF2-40B4-BE49-F238E27FC236}">
                    <a16:creationId xmlns:a16="http://schemas.microsoft.com/office/drawing/2014/main" id="{242F633E-9219-7448-BF01-A8EFB7632CC9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6" name="Freihandform 35">
                <a:extLst>
                  <a:ext uri="{FF2B5EF4-FFF2-40B4-BE49-F238E27FC236}">
                    <a16:creationId xmlns:a16="http://schemas.microsoft.com/office/drawing/2014/main" id="{31670645-4D89-284A-ACB3-13CD4E07AF31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48" name="Inhaltsplatzhalter 44">
            <a:extLst>
              <a:ext uri="{FF2B5EF4-FFF2-40B4-BE49-F238E27FC236}">
                <a16:creationId xmlns:a16="http://schemas.microsoft.com/office/drawing/2014/main" id="{1A71C0D5-D8B8-DF4F-8B3A-78ACE6048FBA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700871" y="5072736"/>
            <a:ext cx="2511596" cy="1142795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49" name="Inhaltsplatzhalter 44">
            <a:extLst>
              <a:ext uri="{FF2B5EF4-FFF2-40B4-BE49-F238E27FC236}">
                <a16:creationId xmlns:a16="http://schemas.microsoft.com/office/drawing/2014/main" id="{BF6278D9-F6E9-174C-A50F-F223D7E8FC8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843604" y="5057980"/>
            <a:ext cx="2511596" cy="1142795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50" name="Inhaltsplatzhalter 44">
            <a:extLst>
              <a:ext uri="{FF2B5EF4-FFF2-40B4-BE49-F238E27FC236}">
                <a16:creationId xmlns:a16="http://schemas.microsoft.com/office/drawing/2014/main" id="{9836108A-83F3-F342-84B6-1CE7BF7A299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7976300" y="5077009"/>
            <a:ext cx="2511596" cy="1142795"/>
          </a:xfrm>
        </p:spPr>
        <p:txBody>
          <a:bodyPr>
            <a:noAutofit/>
          </a:bodyPr>
          <a:lstStyle>
            <a:lvl1pPr algn="ctr">
              <a:defRPr sz="1400"/>
            </a:lvl1pPr>
          </a:lstStyle>
          <a:p>
            <a:pPr lvl="0"/>
            <a:r>
              <a:rPr lang="en-US" noProof="0" dirty="0"/>
              <a:t>Add text</a:t>
            </a:r>
          </a:p>
        </p:txBody>
      </p:sp>
      <p:sp>
        <p:nvSpPr>
          <p:cNvPr id="51" name="Inhaltsplatzhalter 44">
            <a:extLst>
              <a:ext uri="{FF2B5EF4-FFF2-40B4-BE49-F238E27FC236}">
                <a16:creationId xmlns:a16="http://schemas.microsoft.com/office/drawing/2014/main" id="{C97068E0-F80A-F24A-8CED-4E84BE43D7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1700871" y="3930382"/>
            <a:ext cx="2511596" cy="286232"/>
          </a:xfrm>
        </p:spPr>
        <p:txBody>
          <a:bodyPr anchor="ctr" anchorCtr="0">
            <a:no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limate protection activity</a:t>
            </a:r>
          </a:p>
        </p:txBody>
      </p:sp>
      <p:sp>
        <p:nvSpPr>
          <p:cNvPr id="54" name="Inhaltsplatzhalter 44">
            <a:extLst>
              <a:ext uri="{FF2B5EF4-FFF2-40B4-BE49-F238E27FC236}">
                <a16:creationId xmlns:a16="http://schemas.microsoft.com/office/drawing/2014/main" id="{0C7D52C3-9131-3244-821F-EC9D336AF7D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067815" y="3930381"/>
            <a:ext cx="2063174" cy="286232"/>
          </a:xfrm>
        </p:spPr>
        <p:txBody>
          <a:bodyPr anchor="ctr" anchorCtr="0">
            <a:no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romote change</a:t>
            </a:r>
          </a:p>
        </p:txBody>
      </p:sp>
      <p:sp>
        <p:nvSpPr>
          <p:cNvPr id="55" name="Inhaltsplatzhalter 44">
            <a:extLst>
              <a:ext uri="{FF2B5EF4-FFF2-40B4-BE49-F238E27FC236}">
                <a16:creationId xmlns:a16="http://schemas.microsoft.com/office/drawing/2014/main" id="{615A4227-9BAC-AD41-BB9D-C3AE34F2EEF7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7723202" y="3930382"/>
            <a:ext cx="3187834" cy="286232"/>
          </a:xfrm>
        </p:spPr>
        <p:txBody>
          <a:bodyPr anchor="ctr" anchorCtr="0">
            <a:noAutofit/>
          </a:bodyPr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Community involvement</a:t>
            </a:r>
          </a:p>
        </p:txBody>
      </p:sp>
      <p:sp>
        <p:nvSpPr>
          <p:cNvPr id="45" name="Titel 1">
            <a:extLst>
              <a:ext uri="{FF2B5EF4-FFF2-40B4-BE49-F238E27FC236}">
                <a16:creationId xmlns:a16="http://schemas.microsoft.com/office/drawing/2014/main" id="{A23B113D-7CC2-4F4C-8733-E829EBF1A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6" name="Textplatzhalter 9">
            <a:extLst>
              <a:ext uri="{FF2B5EF4-FFF2-40B4-BE49-F238E27FC236}">
                <a16:creationId xmlns:a16="http://schemas.microsoft.com/office/drawing/2014/main" id="{BDCADA64-061A-B846-8E8E-3FE027F4471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F1363FD-EA08-A342-9F97-33563589C713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D58DA1-1285-D841-A676-DCF45EC8C68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933984D-D40E-5541-9397-D13DBAD71587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94054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9392BBF-BD95-294E-9DD1-75C48A997C27}"/>
              </a:ext>
            </a:extLst>
          </p:cNvPr>
          <p:cNvSpPr/>
          <p:nvPr userDrawn="1"/>
        </p:nvSpPr>
        <p:spPr>
          <a:xfrm>
            <a:off x="371475" y="1916114"/>
            <a:ext cx="7993063" cy="428466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E61C072E-C564-2D49-83FA-73197E97CD62}"/>
              </a:ext>
            </a:extLst>
          </p:cNvPr>
          <p:cNvSpPr/>
          <p:nvPr userDrawn="1"/>
        </p:nvSpPr>
        <p:spPr>
          <a:xfrm>
            <a:off x="3827463" y="1484313"/>
            <a:ext cx="8004159" cy="4932362"/>
          </a:xfrm>
          <a:prstGeom prst="rect">
            <a:avLst/>
          </a:prstGeom>
          <a:solidFill>
            <a:srgbClr val="E2F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4FF97D2F-A898-DD46-8B23-3A270A757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4592" y="2198096"/>
            <a:ext cx="5721928" cy="1178143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7000"/>
              </a:lnSpc>
              <a:defRPr sz="4400" b="1" i="0" spc="1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PRES. HEADLINE TWO LINES</a:t>
            </a:r>
          </a:p>
        </p:txBody>
      </p:sp>
      <p:sp>
        <p:nvSpPr>
          <p:cNvPr id="30" name="Textplatzhalter 24">
            <a:extLst>
              <a:ext uri="{FF2B5EF4-FFF2-40B4-BE49-F238E27FC236}">
                <a16:creationId xmlns:a16="http://schemas.microsoft.com/office/drawing/2014/main" id="{AE4D24E4-8221-2247-8EDB-FC5BFA562E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4592" y="3888450"/>
            <a:ext cx="2717191" cy="441453"/>
          </a:xfrm>
          <a:prstGeom prst="rect">
            <a:avLst/>
          </a:prstGeom>
          <a:solidFill>
            <a:schemeClr val="accent1"/>
          </a:solidFill>
        </p:spPr>
        <p:txBody>
          <a:bodyPr wrap="none" lIns="108000" tIns="72000" rIns="108000" bIns="36000">
            <a:spAutoFit/>
          </a:bodyPr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25DBA308-654B-0446-AAED-DB08F919E0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3196" y="5881521"/>
            <a:ext cx="3444267" cy="313932"/>
          </a:xfrm>
        </p:spPr>
        <p:txBody>
          <a:bodyPr anchor="b" anchorCtr="0">
            <a:spAutoFit/>
          </a:bodyPr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lace, Date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4B77E034-4019-B944-A05F-C4666A168A36}"/>
              </a:ext>
            </a:extLst>
          </p:cNvPr>
          <p:cNvGrpSpPr/>
          <p:nvPr userDrawn="1"/>
        </p:nvGrpSpPr>
        <p:grpSpPr>
          <a:xfrm>
            <a:off x="6594522" y="1493826"/>
            <a:ext cx="5220827" cy="4917966"/>
            <a:chOff x="5961485" y="438512"/>
            <a:chExt cx="600255" cy="565434"/>
          </a:xfrm>
        </p:grpSpPr>
        <p:sp>
          <p:nvSpPr>
            <p:cNvPr id="37" name="Freihandform 36">
              <a:extLst>
                <a:ext uri="{FF2B5EF4-FFF2-40B4-BE49-F238E27FC236}">
                  <a16:creationId xmlns:a16="http://schemas.microsoft.com/office/drawing/2014/main" id="{69A8CA06-F743-934D-B10B-F21BD015D172}"/>
                </a:ext>
              </a:extLst>
            </p:cNvPr>
            <p:cNvSpPr/>
            <p:nvPr userDrawn="1"/>
          </p:nvSpPr>
          <p:spPr>
            <a:xfrm>
              <a:off x="5961485" y="438512"/>
              <a:ext cx="600255" cy="565434"/>
            </a:xfrm>
            <a:custGeom>
              <a:avLst/>
              <a:gdLst>
                <a:gd name="connsiteX0" fmla="*/ 599622 w 600255"/>
                <a:gd name="connsiteY0" fmla="*/ 7638 h 565434"/>
                <a:gd name="connsiteX1" fmla="*/ 596453 w 600255"/>
                <a:gd name="connsiteY1" fmla="*/ 1127 h 565434"/>
                <a:gd name="connsiteX2" fmla="*/ 589609 w 600255"/>
                <a:gd name="connsiteY2" fmla="*/ 1127 h 565434"/>
                <a:gd name="connsiteX3" fmla="*/ 299885 w 600255"/>
                <a:gd name="connsiteY3" fmla="*/ 175540 h 565434"/>
                <a:gd name="connsiteX4" fmla="*/ 11427 w 600255"/>
                <a:gd name="connsiteY4" fmla="*/ 1127 h 565434"/>
                <a:gd name="connsiteX5" fmla="*/ 3823 w 600255"/>
                <a:gd name="connsiteY5" fmla="*/ 1127 h 565434"/>
                <a:gd name="connsiteX6" fmla="*/ 21 w 600255"/>
                <a:gd name="connsiteY6" fmla="*/ 7638 h 565434"/>
                <a:gd name="connsiteX7" fmla="*/ 21 w 600255"/>
                <a:gd name="connsiteY7" fmla="*/ 558546 h 565434"/>
                <a:gd name="connsiteX8" fmla="*/ 6737 w 600255"/>
                <a:gd name="connsiteY8" fmla="*/ 565431 h 565434"/>
                <a:gd name="connsiteX9" fmla="*/ 6865 w 600255"/>
                <a:gd name="connsiteY9" fmla="*/ 565433 h 565434"/>
                <a:gd name="connsiteX10" fmla="*/ 148432 w 600255"/>
                <a:gd name="connsiteY10" fmla="*/ 565433 h 565434"/>
                <a:gd name="connsiteX11" fmla="*/ 156036 w 600255"/>
                <a:gd name="connsiteY11" fmla="*/ 558546 h 565434"/>
                <a:gd name="connsiteX12" fmla="*/ 156036 w 600255"/>
                <a:gd name="connsiteY12" fmla="*/ 255171 h 565434"/>
                <a:gd name="connsiteX13" fmla="*/ 292914 w 600255"/>
                <a:gd name="connsiteY13" fmla="*/ 336931 h 565434"/>
                <a:gd name="connsiteX14" fmla="*/ 299885 w 600255"/>
                <a:gd name="connsiteY14" fmla="*/ 339310 h 565434"/>
                <a:gd name="connsiteX15" fmla="*/ 306729 w 600255"/>
                <a:gd name="connsiteY15" fmla="*/ 336931 h 565434"/>
                <a:gd name="connsiteX16" fmla="*/ 596453 w 600255"/>
                <a:gd name="connsiteY16" fmla="*/ 165648 h 565434"/>
                <a:gd name="connsiteX17" fmla="*/ 600255 w 600255"/>
                <a:gd name="connsiteY17" fmla="*/ 156633 h 565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0255" h="565434">
                  <a:moveTo>
                    <a:pt x="599622" y="7638"/>
                  </a:moveTo>
                  <a:cubicBezTo>
                    <a:pt x="599959" y="5040"/>
                    <a:pt x="598717" y="2489"/>
                    <a:pt x="596453" y="1127"/>
                  </a:cubicBezTo>
                  <a:cubicBezTo>
                    <a:pt x="594425" y="-376"/>
                    <a:pt x="591637" y="-376"/>
                    <a:pt x="589609" y="1127"/>
                  </a:cubicBezTo>
                  <a:lnTo>
                    <a:pt x="299885" y="175540"/>
                  </a:lnTo>
                  <a:lnTo>
                    <a:pt x="11427" y="1127"/>
                  </a:lnTo>
                  <a:cubicBezTo>
                    <a:pt x="9116" y="-359"/>
                    <a:pt x="6135" y="-359"/>
                    <a:pt x="3823" y="1127"/>
                  </a:cubicBezTo>
                  <a:cubicBezTo>
                    <a:pt x="1314" y="2310"/>
                    <a:pt x="-198" y="4899"/>
                    <a:pt x="21" y="7638"/>
                  </a:cubicBezTo>
                  <a:lnTo>
                    <a:pt x="21" y="558546"/>
                  </a:lnTo>
                  <a:cubicBezTo>
                    <a:pt x="-49" y="562280"/>
                    <a:pt x="2958" y="565363"/>
                    <a:pt x="6737" y="565431"/>
                  </a:cubicBezTo>
                  <a:cubicBezTo>
                    <a:pt x="6780" y="565433"/>
                    <a:pt x="6822" y="565433"/>
                    <a:pt x="6865" y="565433"/>
                  </a:cubicBezTo>
                  <a:lnTo>
                    <a:pt x="148432" y="565433"/>
                  </a:lnTo>
                  <a:cubicBezTo>
                    <a:pt x="152420" y="565509"/>
                    <a:pt x="155766" y="562478"/>
                    <a:pt x="156036" y="558546"/>
                  </a:cubicBezTo>
                  <a:lnTo>
                    <a:pt x="156036" y="255171"/>
                  </a:lnTo>
                  <a:lnTo>
                    <a:pt x="292914" y="336931"/>
                  </a:lnTo>
                  <a:cubicBezTo>
                    <a:pt x="295022" y="338242"/>
                    <a:pt x="297407" y="339056"/>
                    <a:pt x="299885" y="339310"/>
                  </a:cubicBezTo>
                  <a:cubicBezTo>
                    <a:pt x="302318" y="339037"/>
                    <a:pt x="304659" y="338224"/>
                    <a:pt x="306729" y="336931"/>
                  </a:cubicBezTo>
                  <a:cubicBezTo>
                    <a:pt x="306729" y="336931"/>
                    <a:pt x="594299" y="166399"/>
                    <a:pt x="596453" y="165648"/>
                  </a:cubicBezTo>
                  <a:cubicBezTo>
                    <a:pt x="600255" y="163395"/>
                    <a:pt x="600255" y="161892"/>
                    <a:pt x="600255" y="156633"/>
                  </a:cubicBezTo>
                  <a:close/>
                </a:path>
              </a:pathLst>
            </a:custGeom>
            <a:solidFill>
              <a:schemeClr val="accent1"/>
            </a:solidFill>
            <a:ln w="126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38" name="Freihandform 37">
              <a:extLst>
                <a:ext uri="{FF2B5EF4-FFF2-40B4-BE49-F238E27FC236}">
                  <a16:creationId xmlns:a16="http://schemas.microsoft.com/office/drawing/2014/main" id="{92601F71-6EE1-CE49-A0E2-1FFDB17271B7}"/>
                </a:ext>
              </a:extLst>
            </p:cNvPr>
            <p:cNvSpPr/>
            <p:nvPr userDrawn="1"/>
          </p:nvSpPr>
          <p:spPr>
            <a:xfrm>
              <a:off x="6406230" y="664690"/>
              <a:ext cx="154877" cy="338128"/>
            </a:xfrm>
            <a:custGeom>
              <a:avLst/>
              <a:gdLst>
                <a:gd name="connsiteX0" fmla="*/ 151708 w 154877"/>
                <a:gd name="connsiteY0" fmla="*/ 947 h 338128"/>
                <a:gd name="connsiteX1" fmla="*/ 144864 w 154877"/>
                <a:gd name="connsiteY1" fmla="*/ 947 h 338128"/>
                <a:gd name="connsiteX2" fmla="*/ 5451 w 154877"/>
                <a:gd name="connsiteY2" fmla="*/ 83458 h 338128"/>
                <a:gd name="connsiteX3" fmla="*/ 1 w 154877"/>
                <a:gd name="connsiteY3" fmla="*/ 93349 h 338128"/>
                <a:gd name="connsiteX4" fmla="*/ 1 w 154877"/>
                <a:gd name="connsiteY4" fmla="*/ 331241 h 338128"/>
                <a:gd name="connsiteX5" fmla="*/ 6716 w 154877"/>
                <a:gd name="connsiteY5" fmla="*/ 338128 h 338128"/>
                <a:gd name="connsiteX6" fmla="*/ 6972 w 154877"/>
                <a:gd name="connsiteY6" fmla="*/ 338128 h 338128"/>
                <a:gd name="connsiteX7" fmla="*/ 148032 w 154877"/>
                <a:gd name="connsiteY7" fmla="*/ 338128 h 338128"/>
                <a:gd name="connsiteX8" fmla="*/ 154877 w 154877"/>
                <a:gd name="connsiteY8" fmla="*/ 331368 h 338128"/>
                <a:gd name="connsiteX9" fmla="*/ 154876 w 154877"/>
                <a:gd name="connsiteY9" fmla="*/ 331241 h 338128"/>
                <a:gd name="connsiteX10" fmla="*/ 154876 w 154877"/>
                <a:gd name="connsiteY10" fmla="*/ 6831 h 338128"/>
                <a:gd name="connsiteX11" fmla="*/ 151074 w 154877"/>
                <a:gd name="connsiteY11" fmla="*/ 821 h 33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877" h="338128">
                  <a:moveTo>
                    <a:pt x="151708" y="947"/>
                  </a:moveTo>
                  <a:cubicBezTo>
                    <a:pt x="149605" y="-316"/>
                    <a:pt x="146966" y="-316"/>
                    <a:pt x="144864" y="947"/>
                  </a:cubicBezTo>
                  <a:lnTo>
                    <a:pt x="5451" y="83458"/>
                  </a:lnTo>
                  <a:cubicBezTo>
                    <a:pt x="1522" y="85085"/>
                    <a:pt x="1" y="87214"/>
                    <a:pt x="1" y="93349"/>
                  </a:cubicBezTo>
                  <a:lnTo>
                    <a:pt x="1" y="331241"/>
                  </a:lnTo>
                  <a:cubicBezTo>
                    <a:pt x="-70" y="334975"/>
                    <a:pt x="2937" y="338058"/>
                    <a:pt x="6716" y="338128"/>
                  </a:cubicBezTo>
                  <a:cubicBezTo>
                    <a:pt x="6801" y="338129"/>
                    <a:pt x="6887" y="338129"/>
                    <a:pt x="6972" y="338128"/>
                  </a:cubicBezTo>
                  <a:lnTo>
                    <a:pt x="148032" y="338128"/>
                  </a:lnTo>
                  <a:cubicBezTo>
                    <a:pt x="151811" y="338128"/>
                    <a:pt x="154876" y="335102"/>
                    <a:pt x="154877" y="331368"/>
                  </a:cubicBezTo>
                  <a:cubicBezTo>
                    <a:pt x="154877" y="331325"/>
                    <a:pt x="154877" y="331284"/>
                    <a:pt x="154876" y="331241"/>
                  </a:cubicBezTo>
                  <a:lnTo>
                    <a:pt x="154876" y="6831"/>
                  </a:lnTo>
                  <a:cubicBezTo>
                    <a:pt x="154683" y="4333"/>
                    <a:pt x="153263" y="2087"/>
                    <a:pt x="151074" y="821"/>
                  </a:cubicBezTo>
                </a:path>
              </a:pathLst>
            </a:custGeom>
            <a:solidFill>
              <a:srgbClr val="F7AE02"/>
            </a:solidFill>
            <a:ln w="126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grpSp>
        <p:nvGrpSpPr>
          <p:cNvPr id="29" name="Grafik 12">
            <a:extLst>
              <a:ext uri="{FF2B5EF4-FFF2-40B4-BE49-F238E27FC236}">
                <a16:creationId xmlns:a16="http://schemas.microsoft.com/office/drawing/2014/main" id="{AFDCC031-E6A4-5540-9652-C5643B65F2A7}"/>
              </a:ext>
            </a:extLst>
          </p:cNvPr>
          <p:cNvGrpSpPr/>
          <p:nvPr userDrawn="1"/>
        </p:nvGrpSpPr>
        <p:grpSpPr>
          <a:xfrm>
            <a:off x="8364517" y="441325"/>
            <a:ext cx="3468861" cy="579831"/>
            <a:chOff x="8364517" y="441325"/>
            <a:chExt cx="3468861" cy="579831"/>
          </a:xfrm>
        </p:grpSpPr>
        <p:grpSp>
          <p:nvGrpSpPr>
            <p:cNvPr id="31" name="Grafik 12">
              <a:extLst>
                <a:ext uri="{FF2B5EF4-FFF2-40B4-BE49-F238E27FC236}">
                  <a16:creationId xmlns:a16="http://schemas.microsoft.com/office/drawing/2014/main" id="{5A2830DD-7FF0-A64B-A307-F4EE6BB394BA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45" name="Freihandform 44">
                <a:extLst>
                  <a:ext uri="{FF2B5EF4-FFF2-40B4-BE49-F238E27FC236}">
                    <a16:creationId xmlns:a16="http://schemas.microsoft.com/office/drawing/2014/main" id="{9841F6C9-5F14-3B49-96A3-1D8FA0C8A74A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6" name="Freihandform 45">
                <a:extLst>
                  <a:ext uri="{FF2B5EF4-FFF2-40B4-BE49-F238E27FC236}">
                    <a16:creationId xmlns:a16="http://schemas.microsoft.com/office/drawing/2014/main" id="{C5487522-9867-1D4F-89B3-4B47B3C9114A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7" name="Freihandform 46">
                <a:extLst>
                  <a:ext uri="{FF2B5EF4-FFF2-40B4-BE49-F238E27FC236}">
                    <a16:creationId xmlns:a16="http://schemas.microsoft.com/office/drawing/2014/main" id="{FCC9C474-E91C-AF42-A9EF-F09421856AFA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8" name="Freihandform 47">
                <a:extLst>
                  <a:ext uri="{FF2B5EF4-FFF2-40B4-BE49-F238E27FC236}">
                    <a16:creationId xmlns:a16="http://schemas.microsoft.com/office/drawing/2014/main" id="{7EA97256-5221-D04F-8FCC-7C5673F3D9F4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9" name="Freihandform 48">
                <a:extLst>
                  <a:ext uri="{FF2B5EF4-FFF2-40B4-BE49-F238E27FC236}">
                    <a16:creationId xmlns:a16="http://schemas.microsoft.com/office/drawing/2014/main" id="{355BEA9D-C8E8-9044-A328-024465C95BCD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4" name="Grafik 12">
              <a:extLst>
                <a:ext uri="{FF2B5EF4-FFF2-40B4-BE49-F238E27FC236}">
                  <a16:creationId xmlns:a16="http://schemas.microsoft.com/office/drawing/2014/main" id="{462863C8-79CF-014D-BA97-3C25EF011FBC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43" name="Freihandform 42">
                <a:extLst>
                  <a:ext uri="{FF2B5EF4-FFF2-40B4-BE49-F238E27FC236}">
                    <a16:creationId xmlns:a16="http://schemas.microsoft.com/office/drawing/2014/main" id="{A88D2FFB-41F6-A34D-B7AF-A0B854E8CA86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4" name="Freihandform 43">
                <a:extLst>
                  <a:ext uri="{FF2B5EF4-FFF2-40B4-BE49-F238E27FC236}">
                    <a16:creationId xmlns:a16="http://schemas.microsoft.com/office/drawing/2014/main" id="{051E71E3-8AE6-F441-B849-A389F140E911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5" name="Grafik 12">
              <a:extLst>
                <a:ext uri="{FF2B5EF4-FFF2-40B4-BE49-F238E27FC236}">
                  <a16:creationId xmlns:a16="http://schemas.microsoft.com/office/drawing/2014/main" id="{CCF77BC4-A5A3-F341-9BB0-2D855478E886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807A1FA7-3143-9B48-A684-D8B1856E8DE3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6F7CD183-E7F1-DF48-B7F1-EEC3BA4B5965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9EF0EA30-DBB1-694E-8835-0F90549867A0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A69D9F3C-ED96-B34E-9B73-9559BDBCD870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53438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afik 15">
            <a:extLst>
              <a:ext uri="{FF2B5EF4-FFF2-40B4-BE49-F238E27FC236}">
                <a16:creationId xmlns:a16="http://schemas.microsoft.com/office/drawing/2014/main" id="{D43071C1-C9A5-8249-A948-0609569C1C48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7" name="Grafik 15">
              <a:extLst>
                <a:ext uri="{FF2B5EF4-FFF2-40B4-BE49-F238E27FC236}">
                  <a16:creationId xmlns:a16="http://schemas.microsoft.com/office/drawing/2014/main" id="{6904AC53-4502-5947-B099-21CB394E933E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ED315FF9-3ED4-0744-ACA6-A0018E5B7E45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8B8E4F81-304B-8646-9A1E-16BDEF01DC06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9E5F67FB-8E7C-5E46-B54E-7C4638C4F4F8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C68D1F07-67B3-144B-9E18-D891936B849A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0" name="Freihandform 29">
                <a:extLst>
                  <a:ext uri="{FF2B5EF4-FFF2-40B4-BE49-F238E27FC236}">
                    <a16:creationId xmlns:a16="http://schemas.microsoft.com/office/drawing/2014/main" id="{9DFB8809-13D2-CA44-9F98-3D9C8091395F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8" name="Grafik 15">
              <a:extLst>
                <a:ext uri="{FF2B5EF4-FFF2-40B4-BE49-F238E27FC236}">
                  <a16:creationId xmlns:a16="http://schemas.microsoft.com/office/drawing/2014/main" id="{82595BD6-908D-9E4F-9C87-BD6CC2666F3B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5166AEF6-3570-C942-BD3F-B4E708135F57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C36924DB-76DD-4E45-AEF9-D74FB67AA017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9" name="Grafik 15">
              <a:extLst>
                <a:ext uri="{FF2B5EF4-FFF2-40B4-BE49-F238E27FC236}">
                  <a16:creationId xmlns:a16="http://schemas.microsoft.com/office/drawing/2014/main" id="{191A521E-2571-594B-9282-38486E14539E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3A7621E9-475E-4649-BE52-1C0234BDEAC2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D49DDF34-6B0D-664A-BCEC-8752B253E387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D94FB652-F818-1847-9C63-9F0426477E40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2C4FDE25-65EA-7B45-80B5-A7E7E787C866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DE691503-4235-F741-BEFD-D8D59EA182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92356" y="3300756"/>
            <a:ext cx="1051806" cy="650875"/>
          </a:xfrm>
        </p:spPr>
        <p:txBody>
          <a:bodyPr anchor="ctr" anchorCtr="0">
            <a:noAutofit/>
          </a:bodyPr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Sample text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DEC79564-153E-E44E-BF2E-C98B5A8DDEA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92356" y="5013981"/>
            <a:ext cx="1051806" cy="650875"/>
          </a:xfrm>
        </p:spPr>
        <p:txBody>
          <a:bodyPr anchor="ctr" anchorCtr="0">
            <a:noAutofit/>
          </a:bodyPr>
          <a:lstStyle>
            <a:lvl1pPr algn="ctr"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Sample text</a:t>
            </a:r>
          </a:p>
        </p:txBody>
      </p:sp>
      <p:sp>
        <p:nvSpPr>
          <p:cNvPr id="36" name="Textplatzhalter 30">
            <a:extLst>
              <a:ext uri="{FF2B5EF4-FFF2-40B4-BE49-F238E27FC236}">
                <a16:creationId xmlns:a16="http://schemas.microsoft.com/office/drawing/2014/main" id="{D6091B6F-BA78-F941-AFEF-C90870E5EC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3195" y="1018006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37" name="Textplatzhalter 30">
            <a:extLst>
              <a:ext uri="{FF2B5EF4-FFF2-40B4-BE49-F238E27FC236}">
                <a16:creationId xmlns:a16="http://schemas.microsoft.com/office/drawing/2014/main" id="{8A6A813F-AA06-FF45-AF9D-F54E2B997A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85976" y="1018006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40" name="Textplatzhalter 38">
            <a:extLst>
              <a:ext uri="{FF2B5EF4-FFF2-40B4-BE49-F238E27FC236}">
                <a16:creationId xmlns:a16="http://schemas.microsoft.com/office/drawing/2014/main" id="{00FA8C08-D9C4-0248-83E5-A70659B6365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89663" y="1499010"/>
            <a:ext cx="4030862" cy="470176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1" name="Textplatzhalter 38">
            <a:extLst>
              <a:ext uri="{FF2B5EF4-FFF2-40B4-BE49-F238E27FC236}">
                <a16:creationId xmlns:a16="http://schemas.microsoft.com/office/drawing/2014/main" id="{DB1245BF-5664-E642-B593-C18E055C14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5" y="1499010"/>
            <a:ext cx="4221706" cy="470176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8" name="Titel 1">
            <a:extLst>
              <a:ext uri="{FF2B5EF4-FFF2-40B4-BE49-F238E27FC236}">
                <a16:creationId xmlns:a16="http://schemas.microsoft.com/office/drawing/2014/main" id="{ABD304DA-6D8D-D649-A21D-5EA2EAF809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EBEBFFA-E151-1146-B57A-EE7A34280DF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047E9E9-998B-524A-A708-5E7E42A89A0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F18C8A-27D7-3544-84C3-3D38B548592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5201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afik 15">
            <a:extLst>
              <a:ext uri="{FF2B5EF4-FFF2-40B4-BE49-F238E27FC236}">
                <a16:creationId xmlns:a16="http://schemas.microsoft.com/office/drawing/2014/main" id="{76A597A6-CA02-E84D-BE30-F4CCE76BA675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2" name="Grafik 15">
              <a:extLst>
                <a:ext uri="{FF2B5EF4-FFF2-40B4-BE49-F238E27FC236}">
                  <a16:creationId xmlns:a16="http://schemas.microsoft.com/office/drawing/2014/main" id="{160002C7-2DCD-7544-824F-209190B39839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65850306-C00B-1148-A79A-0DDF3B0CA59E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BBFCF0C5-9AF2-BD49-A98E-308899F82A22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8EAB71C2-0681-8848-B99D-965EE2F1D233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909A4677-A7B6-D24C-8B0C-B5A3F5654C66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8FFC3B76-E585-3B4B-8494-773E81AC014B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5" name="Grafik 15">
              <a:extLst>
                <a:ext uri="{FF2B5EF4-FFF2-40B4-BE49-F238E27FC236}">
                  <a16:creationId xmlns:a16="http://schemas.microsoft.com/office/drawing/2014/main" id="{B242F354-BD86-6144-A9B9-C37DC7AC0997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6B456912-7690-3846-A520-FA7D68D5ECFE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214B189D-F4FD-0443-8779-FD295D83E46C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6" name="Grafik 15">
              <a:extLst>
                <a:ext uri="{FF2B5EF4-FFF2-40B4-BE49-F238E27FC236}">
                  <a16:creationId xmlns:a16="http://schemas.microsoft.com/office/drawing/2014/main" id="{8C90D154-BCEC-4842-934E-D08BA2149565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5DAF5E66-A2F5-E348-B867-FE7434AC117C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BD08A1B0-398B-F849-907A-DB7189DC7DE7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91CD5C29-F997-0C45-A03B-58CE1E70F682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278CA5B8-7BEE-6F44-B6A2-22A98CE3E954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8" name="Titel 1">
            <a:extLst>
              <a:ext uri="{FF2B5EF4-FFF2-40B4-BE49-F238E27FC236}">
                <a16:creationId xmlns:a16="http://schemas.microsoft.com/office/drawing/2014/main" id="{87B740B9-065A-3F40-BE8C-316FD47521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301D8101-A7D0-E042-9132-13F01E57A2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53159" y="1020225"/>
            <a:ext cx="1835613" cy="383873"/>
          </a:xfrm>
          <a:solidFill>
            <a:schemeClr val="accent2"/>
          </a:solidFill>
        </p:spPr>
        <p:txBody>
          <a:bodyPr vert="horz" wrap="none" lIns="72000" tIns="14400" rIns="72000" bIns="0" rtlCol="0">
            <a:spAutoFit/>
          </a:bodyPr>
          <a:lstStyle>
            <a:lvl1pPr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 noProof="0"/>
              <a:t>SUBHEAD</a:t>
            </a:r>
          </a:p>
        </p:txBody>
      </p:sp>
      <p:sp>
        <p:nvSpPr>
          <p:cNvPr id="32" name="Textplatzhalter 22">
            <a:extLst>
              <a:ext uri="{FF2B5EF4-FFF2-40B4-BE49-F238E27FC236}">
                <a16:creationId xmlns:a16="http://schemas.microsoft.com/office/drawing/2014/main" id="{0C82FCAA-1BF0-0B44-AEA6-CE2FF53508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3159" y="1484313"/>
            <a:ext cx="5367366" cy="471646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2F7074A-00F6-FC4D-B6CF-E1B125BFD57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523A0B-2AD9-DE48-9719-C3AAB39947C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A632CE8-6B42-C84F-9A98-B8AEB8E6948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F0845650-C1E0-EF45-9FFF-B05A90D316F5}"/>
              </a:ext>
            </a:extLst>
          </p:cNvPr>
          <p:cNvSpPr>
            <a:spLocks noGrp="1"/>
          </p:cNvSpPr>
          <p:nvPr>
            <p:ph type="chart" sz="quarter" idx="22" hasCustomPrompt="1"/>
          </p:nvPr>
        </p:nvSpPr>
        <p:spPr>
          <a:xfrm>
            <a:off x="371475" y="1484313"/>
            <a:ext cx="5465763" cy="4469920"/>
          </a:xfrm>
        </p:spPr>
        <p:txBody>
          <a:bodyPr>
            <a:noAutofit/>
          </a:bodyPr>
          <a:lstStyle/>
          <a:p>
            <a:r>
              <a:rPr lang="en-US" noProof="0" dirty="0"/>
              <a:t>Add diagram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17215158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afik 15">
            <a:extLst>
              <a:ext uri="{FF2B5EF4-FFF2-40B4-BE49-F238E27FC236}">
                <a16:creationId xmlns:a16="http://schemas.microsoft.com/office/drawing/2014/main" id="{6E5BA1AF-7039-2A44-BF6D-DECD57FDC5D0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3" name="Grafik 15">
              <a:extLst>
                <a:ext uri="{FF2B5EF4-FFF2-40B4-BE49-F238E27FC236}">
                  <a16:creationId xmlns:a16="http://schemas.microsoft.com/office/drawing/2014/main" id="{D48F8AA1-B847-2440-8E2F-78F252D27787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15CFEC58-E081-2C4E-8322-BF0020FEF0D2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19B72019-30ED-434F-ABA3-982D0341E205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F830242B-333F-104A-833E-8047669D277C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D27BB66F-4DE1-C14C-B10A-D7FEE7D51361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4D20C67B-7B59-A046-A74F-388F267B7032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4" name="Grafik 15">
              <a:extLst>
                <a:ext uri="{FF2B5EF4-FFF2-40B4-BE49-F238E27FC236}">
                  <a16:creationId xmlns:a16="http://schemas.microsoft.com/office/drawing/2014/main" id="{1992F4F3-B97D-5646-A7D9-6198AA068677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7B3A8A49-21E0-F24A-B497-5B6F4B82C029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E0F87386-B5C5-3547-8F37-30F8E3EB139A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5" name="Grafik 15">
              <a:extLst>
                <a:ext uri="{FF2B5EF4-FFF2-40B4-BE49-F238E27FC236}">
                  <a16:creationId xmlns:a16="http://schemas.microsoft.com/office/drawing/2014/main" id="{17D6092F-966E-5348-905D-366664348527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1C3598E9-32F7-6649-AF87-014691B984BB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BD205B10-616B-2C4D-98F2-69C8A4316C61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BB4658CA-A3DE-5847-915C-BF641038F0E1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817CBEDA-61B3-2D46-9F75-1E9203759ED4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E596CE6B-AE98-A94B-8637-110E368C77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589" y="1484313"/>
            <a:ext cx="3035818" cy="4716462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</a:lstStyle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8CC04B03-CF39-1844-AD1D-37AD974FFDA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E54D23-08E8-F348-A9EF-93B7DF29381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B837DB-9F34-BF4C-8822-2C572381BC9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53F76C6-9C20-CB45-BFDC-B5B5C0140BC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28" name="Diagrammplatzhalter 5">
            <a:extLst>
              <a:ext uri="{FF2B5EF4-FFF2-40B4-BE49-F238E27FC236}">
                <a16:creationId xmlns:a16="http://schemas.microsoft.com/office/drawing/2014/main" id="{AD7FBBE6-0EA9-B540-9760-7FCA705F6916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3827463" y="1484313"/>
            <a:ext cx="7993062" cy="4716462"/>
          </a:xfrm>
        </p:spPr>
        <p:txBody>
          <a:bodyPr/>
          <a:lstStyle/>
          <a:p>
            <a:r>
              <a:rPr lang="en-US" noProof="0" dirty="0"/>
              <a:t>Add diagram by clicking on symbol</a:t>
            </a:r>
          </a:p>
        </p:txBody>
      </p:sp>
      <p:sp>
        <p:nvSpPr>
          <p:cNvPr id="31" name="Titel 1">
            <a:extLst>
              <a:ext uri="{FF2B5EF4-FFF2-40B4-BE49-F238E27FC236}">
                <a16:creationId xmlns:a16="http://schemas.microsoft.com/office/drawing/2014/main" id="{A1A82B20-587E-3A46-AEBE-4B1F52A402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7689093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fik 15">
            <a:extLst>
              <a:ext uri="{FF2B5EF4-FFF2-40B4-BE49-F238E27FC236}">
                <a16:creationId xmlns:a16="http://schemas.microsoft.com/office/drawing/2014/main" id="{B196CEC4-F4AB-2C4A-B24B-022CC630387A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8" name="Grafik 15">
              <a:extLst>
                <a:ext uri="{FF2B5EF4-FFF2-40B4-BE49-F238E27FC236}">
                  <a16:creationId xmlns:a16="http://schemas.microsoft.com/office/drawing/2014/main" id="{57E81EEA-08C6-1B4F-9553-FE6C11F4ACED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6D3A7D27-15FE-634D-8DA3-0F448944AEC4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572378D0-1FC7-6845-8C63-E90819391C5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90CD9504-925E-F748-9337-6282E295F144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FEB994EA-97FC-5246-9CDD-89A551EF8D4E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AFE347A5-F6C0-F44F-98B0-DC4E1F1522A8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9" name="Grafik 15">
              <a:extLst>
                <a:ext uri="{FF2B5EF4-FFF2-40B4-BE49-F238E27FC236}">
                  <a16:creationId xmlns:a16="http://schemas.microsoft.com/office/drawing/2014/main" id="{9783D0DF-0FD1-3540-8D9B-475495C355F2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9976344D-F6DB-044F-AC5A-3DD0200CA8D4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3EA81C31-B4DB-9149-BCEE-E8A17F9F8C7F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0" name="Grafik 15">
              <a:extLst>
                <a:ext uri="{FF2B5EF4-FFF2-40B4-BE49-F238E27FC236}">
                  <a16:creationId xmlns:a16="http://schemas.microsoft.com/office/drawing/2014/main" id="{24AC3D07-DBC5-9A48-B967-600002B08107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2" name="Freihandform 11">
                <a:extLst>
                  <a:ext uri="{FF2B5EF4-FFF2-40B4-BE49-F238E27FC236}">
                    <a16:creationId xmlns:a16="http://schemas.microsoft.com/office/drawing/2014/main" id="{E939BF1A-564C-3C44-82B8-67A848DC01FA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3" name="Freihandform 12">
                <a:extLst>
                  <a:ext uri="{FF2B5EF4-FFF2-40B4-BE49-F238E27FC236}">
                    <a16:creationId xmlns:a16="http://schemas.microsoft.com/office/drawing/2014/main" id="{E26471C9-B863-7C49-B3B0-D14DB39D4B1C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4" name="Freihandform 13">
                <a:extLst>
                  <a:ext uri="{FF2B5EF4-FFF2-40B4-BE49-F238E27FC236}">
                    <a16:creationId xmlns:a16="http://schemas.microsoft.com/office/drawing/2014/main" id="{00FCE541-DF28-5245-9318-FE478DF7CFAD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4A5831DD-DB83-AD4F-82F5-819C88E1EE1B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3" name="Titel 1">
            <a:extLst>
              <a:ext uri="{FF2B5EF4-FFF2-40B4-BE49-F238E27FC236}">
                <a16:creationId xmlns:a16="http://schemas.microsoft.com/office/drawing/2014/main" id="{190DAC15-2A8C-5240-82D7-501D21B2EF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E82F3B34-F3C9-BA49-A3B4-43C8C402788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475" y="941279"/>
            <a:ext cx="1870064" cy="369332"/>
          </a:xfrm>
        </p:spPr>
        <p:txBody>
          <a:bodyPr vert="horz" wrap="none" lIns="0" tIns="45720" rIns="91440" bIns="45720" rtlCol="0">
            <a:spAutoFit/>
          </a:bodyPr>
          <a:lstStyle>
            <a:lvl1pPr>
              <a:defRPr lang="de-DE" sz="2000" b="1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Sub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E775A71-17AE-4240-92F2-5C8C673FAD3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9B742D-97EB-8E41-9AFA-344DC52003A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3F7F15-DC48-3D48-95BE-26D97B9CB2A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6" name="Diagrammplatzhalter 5">
            <a:extLst>
              <a:ext uri="{FF2B5EF4-FFF2-40B4-BE49-F238E27FC236}">
                <a16:creationId xmlns:a16="http://schemas.microsoft.com/office/drawing/2014/main" id="{8FE65A8D-7A54-C142-AEA0-D1170564A1CF}"/>
              </a:ext>
            </a:extLst>
          </p:cNvPr>
          <p:cNvSpPr>
            <a:spLocks noGrp="1"/>
          </p:cNvSpPr>
          <p:nvPr>
            <p:ph type="chart" sz="quarter" idx="28" hasCustomPrompt="1"/>
          </p:nvPr>
        </p:nvSpPr>
        <p:spPr>
          <a:xfrm>
            <a:off x="371475" y="1484313"/>
            <a:ext cx="11449050" cy="4716462"/>
          </a:xfrm>
        </p:spPr>
        <p:txBody>
          <a:bodyPr/>
          <a:lstStyle/>
          <a:p>
            <a:r>
              <a:rPr lang="en-US" noProof="0" dirty="0"/>
              <a:t>Add diagram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35866047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">
            <a:extLst>
              <a:ext uri="{FF2B5EF4-FFF2-40B4-BE49-F238E27FC236}">
                <a16:creationId xmlns:a16="http://schemas.microsoft.com/office/drawing/2014/main" id="{7B44821C-42A1-894F-BFE3-73E3BC430512}"/>
              </a:ext>
            </a:extLst>
          </p:cNvPr>
          <p:cNvSpPr/>
          <p:nvPr userDrawn="1"/>
        </p:nvSpPr>
        <p:spPr>
          <a:xfrm>
            <a:off x="371475" y="1484312"/>
            <a:ext cx="8834170" cy="4932363"/>
          </a:xfrm>
          <a:custGeom>
            <a:avLst/>
            <a:gdLst/>
            <a:ahLst/>
            <a:cxnLst/>
            <a:rect l="l" t="t" r="r" b="b"/>
            <a:pathLst>
              <a:path w="11370945" h="5106035">
                <a:moveTo>
                  <a:pt x="0" y="5105806"/>
                </a:moveTo>
                <a:lnTo>
                  <a:pt x="11370818" y="5105806"/>
                </a:lnTo>
                <a:lnTo>
                  <a:pt x="11370818" y="0"/>
                </a:lnTo>
                <a:lnTo>
                  <a:pt x="0" y="0"/>
                </a:lnTo>
                <a:lnTo>
                  <a:pt x="0" y="5105806"/>
                </a:lnTo>
                <a:close/>
              </a:path>
            </a:pathLst>
          </a:custGeom>
          <a:solidFill>
            <a:srgbClr val="F7AD00"/>
          </a:solid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6D4A721C-F703-6149-966A-962ED63A21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8899" y="2286751"/>
            <a:ext cx="4919616" cy="93718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lnSpc>
                <a:spcPct val="87000"/>
              </a:lnSpc>
              <a:defRPr sz="7000" b="1" i="0" spc="1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CONTACT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D3A20EC-D1D4-9D4F-8019-2C4A8BB40F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82134"/>
          <a:stretch/>
        </p:blipFill>
        <p:spPr>
          <a:xfrm>
            <a:off x="6486520" y="1455738"/>
            <a:ext cx="5431221" cy="5041797"/>
          </a:xfrm>
          <a:prstGeom prst="rect">
            <a:avLst/>
          </a:prstGeom>
        </p:spPr>
      </p:pic>
      <p:grpSp>
        <p:nvGrpSpPr>
          <p:cNvPr id="9" name="Grafik 12">
            <a:extLst>
              <a:ext uri="{FF2B5EF4-FFF2-40B4-BE49-F238E27FC236}">
                <a16:creationId xmlns:a16="http://schemas.microsoft.com/office/drawing/2014/main" id="{C27A6759-4ACA-E54F-A352-AA67B93B82C0}"/>
              </a:ext>
            </a:extLst>
          </p:cNvPr>
          <p:cNvGrpSpPr/>
          <p:nvPr userDrawn="1"/>
        </p:nvGrpSpPr>
        <p:grpSpPr>
          <a:xfrm>
            <a:off x="8364517" y="441325"/>
            <a:ext cx="3468861" cy="579831"/>
            <a:chOff x="8364517" y="441325"/>
            <a:chExt cx="3468861" cy="579831"/>
          </a:xfrm>
        </p:grpSpPr>
        <p:grpSp>
          <p:nvGrpSpPr>
            <p:cNvPr id="10" name="Grafik 12">
              <a:extLst>
                <a:ext uri="{FF2B5EF4-FFF2-40B4-BE49-F238E27FC236}">
                  <a16:creationId xmlns:a16="http://schemas.microsoft.com/office/drawing/2014/main" id="{B4421189-BE7F-1B4A-AC5F-EC8D69472110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AAFB673E-89AF-574E-A3A5-2310FB9AD0E1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4931B1DF-4E51-F742-9841-2D55702C79CD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20DA01DD-6F4D-244A-B2B5-A2E4457060D3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50EE5073-3809-334E-9872-F8DEBD0EBF17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D1DF3F79-6BD1-5248-A236-CECEA94F8184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1" name="Grafik 12">
              <a:extLst>
                <a:ext uri="{FF2B5EF4-FFF2-40B4-BE49-F238E27FC236}">
                  <a16:creationId xmlns:a16="http://schemas.microsoft.com/office/drawing/2014/main" id="{FECCFDDA-C839-EA41-8FD0-D64C91A38EBF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9D1FCC7C-CF28-3D4E-9768-9F75B26665B7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D3D3EC49-3F3F-C742-8F78-E3A85470F4BB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2" name="Grafik 12">
              <a:extLst>
                <a:ext uri="{FF2B5EF4-FFF2-40B4-BE49-F238E27FC236}">
                  <a16:creationId xmlns:a16="http://schemas.microsoft.com/office/drawing/2014/main" id="{A01E442D-EB53-0943-9427-94021893DEE4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9F0AF9F5-7E34-604E-A974-EFADA10F9369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49028659-1DEA-114D-AE2D-8D6206E566AB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BD780AF3-2229-8B47-A43C-1262C671D487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8DFB56AE-2744-3C43-95B4-2682132BE375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92CE5B6-2598-DE44-8AFB-591A4B7BAB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899" y="4579295"/>
            <a:ext cx="4090988" cy="171258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METRO AG</a:t>
            </a:r>
            <a:br>
              <a:rPr lang="en-US" noProof="0"/>
            </a:br>
            <a:r>
              <a:rPr lang="en-US" noProof="0"/>
              <a:t>Corporate Communications  </a:t>
            </a:r>
            <a:br>
              <a:rPr lang="en-US" noProof="0"/>
            </a:br>
            <a:r>
              <a:rPr lang="en-US" noProof="0"/>
              <a:t>Metro-Straße 1</a:t>
            </a:r>
            <a:br>
              <a:rPr lang="en-US" noProof="0"/>
            </a:br>
            <a:r>
              <a:rPr lang="en-US" noProof="0"/>
              <a:t>40235 Düsseldorf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T	+49 211 6886-4252</a:t>
            </a:r>
            <a:br>
              <a:rPr lang="en-US" noProof="0"/>
            </a:br>
            <a:r>
              <a:rPr lang="en-US" noProof="0"/>
              <a:t>F	+49 211 6886-2001</a:t>
            </a:r>
            <a:br>
              <a:rPr lang="en-US" noProof="0"/>
            </a:br>
            <a:r>
              <a:rPr lang="en-US" noProof="0"/>
              <a:t>E	presse@metro.de</a:t>
            </a:r>
            <a:br>
              <a:rPr lang="en-US" noProof="0"/>
            </a:br>
            <a:r>
              <a:rPr lang="en-US" noProof="0"/>
              <a:t>W	www.metroag.de</a:t>
            </a:r>
          </a:p>
        </p:txBody>
      </p:sp>
    </p:spTree>
    <p:extLst>
      <p:ext uri="{BB962C8B-B14F-4D97-AF65-F5344CB8AC3E}">
        <p14:creationId xmlns:p14="http://schemas.microsoft.com/office/powerpoint/2010/main" val="2346627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n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2">
            <a:extLst>
              <a:ext uri="{FF2B5EF4-FFF2-40B4-BE49-F238E27FC236}">
                <a16:creationId xmlns:a16="http://schemas.microsoft.com/office/drawing/2014/main" id="{7B44821C-42A1-894F-BFE3-73E3BC430512}"/>
              </a:ext>
            </a:extLst>
          </p:cNvPr>
          <p:cNvSpPr/>
          <p:nvPr userDrawn="1"/>
        </p:nvSpPr>
        <p:spPr>
          <a:xfrm>
            <a:off x="371475" y="1484312"/>
            <a:ext cx="11449050" cy="4932363"/>
          </a:xfrm>
          <a:custGeom>
            <a:avLst/>
            <a:gdLst/>
            <a:ahLst/>
            <a:cxnLst/>
            <a:rect l="l" t="t" r="r" b="b"/>
            <a:pathLst>
              <a:path w="11370945" h="5106035">
                <a:moveTo>
                  <a:pt x="0" y="5105806"/>
                </a:moveTo>
                <a:lnTo>
                  <a:pt x="11370818" y="5105806"/>
                </a:lnTo>
                <a:lnTo>
                  <a:pt x="11370818" y="0"/>
                </a:lnTo>
                <a:lnTo>
                  <a:pt x="0" y="0"/>
                </a:lnTo>
                <a:lnTo>
                  <a:pt x="0" y="5105806"/>
                </a:lnTo>
                <a:close/>
              </a:path>
            </a:pathLst>
          </a:custGeom>
          <a:solidFill>
            <a:srgbClr val="F7AD00"/>
          </a:solidFill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grpSp>
        <p:nvGrpSpPr>
          <p:cNvPr id="17" name="Grafik 12">
            <a:extLst>
              <a:ext uri="{FF2B5EF4-FFF2-40B4-BE49-F238E27FC236}">
                <a16:creationId xmlns:a16="http://schemas.microsoft.com/office/drawing/2014/main" id="{917EDC90-8AE3-1746-9279-284B504664CF}"/>
              </a:ext>
            </a:extLst>
          </p:cNvPr>
          <p:cNvGrpSpPr/>
          <p:nvPr userDrawn="1"/>
        </p:nvGrpSpPr>
        <p:grpSpPr>
          <a:xfrm>
            <a:off x="8364517" y="441325"/>
            <a:ext cx="3468861" cy="579831"/>
            <a:chOff x="8364517" y="441325"/>
            <a:chExt cx="3468861" cy="579831"/>
          </a:xfrm>
        </p:grpSpPr>
        <p:grpSp>
          <p:nvGrpSpPr>
            <p:cNvPr id="18" name="Grafik 12">
              <a:extLst>
                <a:ext uri="{FF2B5EF4-FFF2-40B4-BE49-F238E27FC236}">
                  <a16:creationId xmlns:a16="http://schemas.microsoft.com/office/drawing/2014/main" id="{CE042CA5-62CC-2743-8FD4-65865F5E5A28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0CBBCA47-4216-F64E-A8C5-089B3B3A5E6B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830B421B-9967-2A4F-8DEA-AEF838301C16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9" name="Freihandform 28">
                <a:extLst>
                  <a:ext uri="{FF2B5EF4-FFF2-40B4-BE49-F238E27FC236}">
                    <a16:creationId xmlns:a16="http://schemas.microsoft.com/office/drawing/2014/main" id="{73B06A6B-0497-BF4F-8C27-9F9E41E164C3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0" name="Freihandform 29">
                <a:extLst>
                  <a:ext uri="{FF2B5EF4-FFF2-40B4-BE49-F238E27FC236}">
                    <a16:creationId xmlns:a16="http://schemas.microsoft.com/office/drawing/2014/main" id="{A6F5A390-5A28-3D49-8333-2BA0E637FA7B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31" name="Freihandform 30">
                <a:extLst>
                  <a:ext uri="{FF2B5EF4-FFF2-40B4-BE49-F238E27FC236}">
                    <a16:creationId xmlns:a16="http://schemas.microsoft.com/office/drawing/2014/main" id="{20A74A27-FF13-F942-89EB-239553C750FD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9" name="Grafik 12">
              <a:extLst>
                <a:ext uri="{FF2B5EF4-FFF2-40B4-BE49-F238E27FC236}">
                  <a16:creationId xmlns:a16="http://schemas.microsoft.com/office/drawing/2014/main" id="{094D5826-EBD6-1A49-890B-BD99D1E0F279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0B6E01A3-CE56-7F48-858B-F7B7C9E6AEE0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A9CB3B46-5477-CD40-9B0C-D74D2D5F6654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20" name="Grafik 12">
              <a:extLst>
                <a:ext uri="{FF2B5EF4-FFF2-40B4-BE49-F238E27FC236}">
                  <a16:creationId xmlns:a16="http://schemas.microsoft.com/office/drawing/2014/main" id="{06985EA2-5DCE-B948-8C16-0F4FAFDC074B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7C5D8B10-77D6-7548-9158-88C42023A5AC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3C27C98F-BDC1-B049-8828-583FE13EAB56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5B18E5E8-0F0D-8740-97C7-A57B0C4FB791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375846D6-238D-B443-B1C2-91A904971501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2" name="Titel 1">
            <a:extLst>
              <a:ext uri="{FF2B5EF4-FFF2-40B4-BE49-F238E27FC236}">
                <a16:creationId xmlns:a16="http://schemas.microsoft.com/office/drawing/2014/main" id="{153662AD-CFD6-7844-AA3B-854B6075E8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08899" y="1985516"/>
            <a:ext cx="9925794" cy="1539652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lnSpc>
                <a:spcPct val="87000"/>
              </a:lnSpc>
              <a:defRPr sz="11500" b="1" i="0" spc="1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E6F4D3E-52EA-6B46-AA9B-07193387FF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08899" y="4579295"/>
            <a:ext cx="4090988" cy="171258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METRO AG</a:t>
            </a:r>
            <a:br>
              <a:rPr lang="en-US" noProof="0" dirty="0"/>
            </a:br>
            <a:r>
              <a:rPr lang="en-US" noProof="0" dirty="0"/>
              <a:t>Corporate Communications  </a:t>
            </a:r>
            <a:br>
              <a:rPr lang="en-US" noProof="0" dirty="0"/>
            </a:br>
            <a:r>
              <a:rPr lang="en-US" noProof="0" dirty="0"/>
              <a:t>Metro-</a:t>
            </a:r>
            <a:r>
              <a:rPr lang="en-US" noProof="0" dirty="0" err="1"/>
              <a:t>Straße</a:t>
            </a:r>
            <a:r>
              <a:rPr lang="en-US" noProof="0" dirty="0"/>
              <a:t> 1</a:t>
            </a:r>
            <a:br>
              <a:rPr lang="en-US" noProof="0" dirty="0"/>
            </a:br>
            <a:r>
              <a:rPr lang="en-US" noProof="0" dirty="0"/>
              <a:t>40235 Düsseldorf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T	+49 211 6886-4252</a:t>
            </a:r>
            <a:br>
              <a:rPr lang="en-US" noProof="0" dirty="0"/>
            </a:br>
            <a:r>
              <a:rPr lang="en-US" noProof="0" dirty="0"/>
              <a:t>F	+49 211 6886-2001</a:t>
            </a:r>
            <a:br>
              <a:rPr lang="en-US" noProof="0" dirty="0"/>
            </a:br>
            <a:r>
              <a:rPr lang="en-US" noProof="0" dirty="0"/>
              <a:t>E	presse@metro.de</a:t>
            </a:r>
            <a:br>
              <a:rPr lang="en-US" noProof="0" dirty="0"/>
            </a:br>
            <a:r>
              <a:rPr lang="en-US" noProof="0" dirty="0"/>
              <a:t>W	www.metroag.de</a:t>
            </a:r>
          </a:p>
        </p:txBody>
      </p:sp>
    </p:spTree>
    <p:extLst>
      <p:ext uri="{BB962C8B-B14F-4D97-AF65-F5344CB8AC3E}">
        <p14:creationId xmlns:p14="http://schemas.microsoft.com/office/powerpoint/2010/main" val="1169360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ore_2">
    <p:bg>
      <p:bgPr>
        <a:solidFill>
          <a:srgbClr val="E2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B115386-A169-4AD4-9A5D-830D3CEAB075}"/>
              </a:ext>
            </a:extLst>
          </p:cNvPr>
          <p:cNvSpPr/>
          <p:nvPr userDrawn="1"/>
        </p:nvSpPr>
        <p:spPr>
          <a:xfrm>
            <a:off x="0" y="6209148"/>
            <a:ext cx="12192000" cy="6488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532CE0-D232-D347-8A08-6E38404C4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de-DE" spc="-5" dirty="0"/>
              <a:t>Date</a:t>
            </a:r>
          </a:p>
          <a:p>
            <a:pPr marL="12700">
              <a:spcBef>
                <a:spcPts val="100"/>
              </a:spcBef>
            </a:pPr>
            <a:endParaRPr lang="de-DE" spc="-5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7433D2-8B3D-574E-8759-178E73413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E70C08-DC90-6B4B-AD84-9C40E0D7C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Rectangle 77">
            <a:extLst>
              <a:ext uri="{FF2B5EF4-FFF2-40B4-BE49-F238E27FC236}">
                <a16:creationId xmlns:a16="http://schemas.microsoft.com/office/drawing/2014/main" id="{05DB0254-A7B3-4BFD-A75B-8CD2A7630777}"/>
              </a:ext>
            </a:extLst>
          </p:cNvPr>
          <p:cNvSpPr/>
          <p:nvPr userDrawn="1"/>
        </p:nvSpPr>
        <p:spPr>
          <a:xfrm rot="18215309">
            <a:off x="3297483" y="2769307"/>
            <a:ext cx="3532632" cy="3300222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9922334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 w="0"/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ORES</a:t>
            </a:r>
          </a:p>
        </p:txBody>
      </p:sp>
      <p:grpSp>
        <p:nvGrpSpPr>
          <p:cNvPr id="8" name="Group 8">
            <a:extLst>
              <a:ext uri="{FF2B5EF4-FFF2-40B4-BE49-F238E27FC236}">
                <a16:creationId xmlns:a16="http://schemas.microsoft.com/office/drawing/2014/main" id="{30466FF0-51E3-41B2-A9E4-FA58B00BE510}"/>
              </a:ext>
            </a:extLst>
          </p:cNvPr>
          <p:cNvGrpSpPr/>
          <p:nvPr userDrawn="1"/>
        </p:nvGrpSpPr>
        <p:grpSpPr>
          <a:xfrm>
            <a:off x="4253025" y="1114399"/>
            <a:ext cx="4700475" cy="4924474"/>
            <a:chOff x="4330082" y="2916802"/>
            <a:chExt cx="4623418" cy="4843745"/>
          </a:xfrm>
        </p:grpSpPr>
        <p:sp>
          <p:nvSpPr>
            <p:cNvPr id="9" name="Freihandform: Form 90">
              <a:extLst>
                <a:ext uri="{FF2B5EF4-FFF2-40B4-BE49-F238E27FC236}">
                  <a16:creationId xmlns:a16="http://schemas.microsoft.com/office/drawing/2014/main" id="{B933BE27-0796-41C5-94FB-D93D35B33F58}"/>
                </a:ext>
              </a:extLst>
            </p:cNvPr>
            <p:cNvSpPr/>
            <p:nvPr/>
          </p:nvSpPr>
          <p:spPr>
            <a:xfrm>
              <a:off x="6078587" y="4285828"/>
              <a:ext cx="1726215" cy="1985813"/>
            </a:xfrm>
            <a:custGeom>
              <a:avLst/>
              <a:gdLst>
                <a:gd name="connsiteX0" fmla="*/ 1137554 w 1726215"/>
                <a:gd name="connsiteY0" fmla="*/ 0 h 1985813"/>
                <a:gd name="connsiteX1" fmla="*/ 1654192 w 1726215"/>
                <a:gd name="connsiteY1" fmla="*/ 78108 h 1985813"/>
                <a:gd name="connsiteX2" fmla="*/ 1702776 w 1726215"/>
                <a:gd name="connsiteY2" fmla="*/ 95890 h 1985813"/>
                <a:gd name="connsiteX3" fmla="*/ 1717245 w 1726215"/>
                <a:gd name="connsiteY3" fmla="*/ 190700 h 1985813"/>
                <a:gd name="connsiteX4" fmla="*/ 1726215 w 1726215"/>
                <a:gd name="connsiteY4" fmla="*/ 368335 h 1985813"/>
                <a:gd name="connsiteX5" fmla="*/ 665114 w 1726215"/>
                <a:gd name="connsiteY5" fmla="*/ 1969165 h 1985813"/>
                <a:gd name="connsiteX6" fmla="*/ 619628 w 1726215"/>
                <a:gd name="connsiteY6" fmla="*/ 1985813 h 1985813"/>
                <a:gd name="connsiteX7" fmla="*/ 625664 w 1726215"/>
                <a:gd name="connsiteY7" fmla="*/ 1946263 h 1985813"/>
                <a:gd name="connsiteX8" fmla="*/ 634634 w 1726215"/>
                <a:gd name="connsiteY8" fmla="*/ 1768628 h 1985813"/>
                <a:gd name="connsiteX9" fmla="*/ 2396 w 1726215"/>
                <a:gd name="connsiteY9" fmla="*/ 427997 h 1985813"/>
                <a:gd name="connsiteX10" fmla="*/ 0 w 1726215"/>
                <a:gd name="connsiteY10" fmla="*/ 426205 h 1985813"/>
                <a:gd name="connsiteX11" fmla="*/ 32432 w 1726215"/>
                <a:gd name="connsiteY11" fmla="*/ 396729 h 1985813"/>
                <a:gd name="connsiteX12" fmla="*/ 1137554 w 1726215"/>
                <a:gd name="connsiteY12" fmla="*/ 0 h 198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6215" h="1985813">
                  <a:moveTo>
                    <a:pt x="1137554" y="0"/>
                  </a:moveTo>
                  <a:cubicBezTo>
                    <a:pt x="1317464" y="0"/>
                    <a:pt x="1490986" y="27346"/>
                    <a:pt x="1654192" y="78108"/>
                  </a:cubicBezTo>
                  <a:lnTo>
                    <a:pt x="1702776" y="95890"/>
                  </a:lnTo>
                  <a:lnTo>
                    <a:pt x="1717245" y="190700"/>
                  </a:lnTo>
                  <a:cubicBezTo>
                    <a:pt x="1723177" y="249105"/>
                    <a:pt x="1726215" y="308365"/>
                    <a:pt x="1726215" y="368335"/>
                  </a:cubicBezTo>
                  <a:cubicBezTo>
                    <a:pt x="1726215" y="1087973"/>
                    <a:pt x="1288679" y="1705419"/>
                    <a:pt x="665114" y="1969165"/>
                  </a:cubicBezTo>
                  <a:lnTo>
                    <a:pt x="619628" y="1985813"/>
                  </a:lnTo>
                  <a:lnTo>
                    <a:pt x="625664" y="1946263"/>
                  </a:lnTo>
                  <a:cubicBezTo>
                    <a:pt x="631596" y="1887858"/>
                    <a:pt x="634634" y="1828598"/>
                    <a:pt x="634634" y="1768628"/>
                  </a:cubicBezTo>
                  <a:cubicBezTo>
                    <a:pt x="634634" y="1228900"/>
                    <a:pt x="388520" y="746654"/>
                    <a:pt x="2396" y="427997"/>
                  </a:cubicBezTo>
                  <a:lnTo>
                    <a:pt x="0" y="426205"/>
                  </a:lnTo>
                  <a:lnTo>
                    <a:pt x="32432" y="396729"/>
                  </a:lnTo>
                  <a:cubicBezTo>
                    <a:pt x="332750" y="148884"/>
                    <a:pt x="717766" y="0"/>
                    <a:pt x="1137554" y="0"/>
                  </a:cubicBezTo>
                  <a:close/>
                </a:path>
              </a:pathLst>
            </a:custGeom>
            <a:solidFill>
              <a:srgbClr val="D2B46C"/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ihandform: Form 91">
              <a:extLst>
                <a:ext uri="{FF2B5EF4-FFF2-40B4-BE49-F238E27FC236}">
                  <a16:creationId xmlns:a16="http://schemas.microsoft.com/office/drawing/2014/main" id="{8F0D7A71-BED9-4336-BDD7-E8104FFA3E18}"/>
                </a:ext>
              </a:extLst>
            </p:cNvPr>
            <p:cNvSpPr/>
            <p:nvPr/>
          </p:nvSpPr>
          <p:spPr>
            <a:xfrm>
              <a:off x="4330082" y="4317095"/>
              <a:ext cx="1748505" cy="1978538"/>
            </a:xfrm>
            <a:custGeom>
              <a:avLst/>
              <a:gdLst>
                <a:gd name="connsiteX0" fmla="*/ 645779 w 1748505"/>
                <a:gd name="connsiteY0" fmla="*/ 0 h 1978538"/>
                <a:gd name="connsiteX1" fmla="*/ 1617153 w 1748505"/>
                <a:gd name="connsiteY1" fmla="*/ 296714 h 1978538"/>
                <a:gd name="connsiteX2" fmla="*/ 1748505 w 1748505"/>
                <a:gd name="connsiteY2" fmla="*/ 394937 h 1978538"/>
                <a:gd name="connsiteX3" fmla="*/ 1657560 w 1748505"/>
                <a:gd name="connsiteY3" fmla="*/ 477593 h 1978538"/>
                <a:gd name="connsiteX4" fmla="*/ 1148699 w 1748505"/>
                <a:gd name="connsiteY4" fmla="*/ 1706092 h 1978538"/>
                <a:gd name="connsiteX5" fmla="*/ 1157669 w 1748505"/>
                <a:gd name="connsiteY5" fmla="*/ 1883727 h 1978538"/>
                <a:gd name="connsiteX6" fmla="*/ 1172139 w 1748505"/>
                <a:gd name="connsiteY6" fmla="*/ 1978538 h 1978538"/>
                <a:gd name="connsiteX7" fmla="*/ 1061101 w 1748505"/>
                <a:gd name="connsiteY7" fmla="*/ 1937897 h 1978538"/>
                <a:gd name="connsiteX8" fmla="*/ 0 w 1748505"/>
                <a:gd name="connsiteY8" fmla="*/ 337067 h 1978538"/>
                <a:gd name="connsiteX9" fmla="*/ 8970 w 1748505"/>
                <a:gd name="connsiteY9" fmla="*/ 159432 h 1978538"/>
                <a:gd name="connsiteX10" fmla="*/ 15006 w 1748505"/>
                <a:gd name="connsiteY10" fmla="*/ 119882 h 1978538"/>
                <a:gd name="connsiteX11" fmla="*/ 129141 w 1748505"/>
                <a:gd name="connsiteY11" fmla="*/ 78108 h 1978538"/>
                <a:gd name="connsiteX12" fmla="*/ 645779 w 1748505"/>
                <a:gd name="connsiteY12" fmla="*/ 0 h 197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8505" h="1978538">
                  <a:moveTo>
                    <a:pt x="645779" y="0"/>
                  </a:moveTo>
                  <a:cubicBezTo>
                    <a:pt x="1005598" y="0"/>
                    <a:pt x="1339869" y="109384"/>
                    <a:pt x="1617153" y="296714"/>
                  </a:cubicBezTo>
                  <a:lnTo>
                    <a:pt x="1748505" y="394937"/>
                  </a:lnTo>
                  <a:lnTo>
                    <a:pt x="1657560" y="477593"/>
                  </a:lnTo>
                  <a:cubicBezTo>
                    <a:pt x="1343160" y="791994"/>
                    <a:pt x="1148699" y="1226334"/>
                    <a:pt x="1148699" y="1706092"/>
                  </a:cubicBezTo>
                  <a:cubicBezTo>
                    <a:pt x="1148699" y="1766062"/>
                    <a:pt x="1151738" y="1825322"/>
                    <a:pt x="1157669" y="1883727"/>
                  </a:cubicBezTo>
                  <a:lnTo>
                    <a:pt x="1172139" y="1978538"/>
                  </a:lnTo>
                  <a:lnTo>
                    <a:pt x="1061101" y="1937897"/>
                  </a:lnTo>
                  <a:cubicBezTo>
                    <a:pt x="437536" y="1674151"/>
                    <a:pt x="0" y="1056705"/>
                    <a:pt x="0" y="337067"/>
                  </a:cubicBezTo>
                  <a:cubicBezTo>
                    <a:pt x="0" y="277097"/>
                    <a:pt x="3038" y="217837"/>
                    <a:pt x="8970" y="159432"/>
                  </a:cubicBezTo>
                  <a:lnTo>
                    <a:pt x="15006" y="119882"/>
                  </a:lnTo>
                  <a:lnTo>
                    <a:pt x="129141" y="78108"/>
                  </a:lnTo>
                  <a:cubicBezTo>
                    <a:pt x="292347" y="27346"/>
                    <a:pt x="465869" y="0"/>
                    <a:pt x="645779" y="0"/>
                  </a:cubicBezTo>
                  <a:close/>
                </a:path>
              </a:pathLst>
            </a:custGeom>
            <a:solidFill>
              <a:srgbClr val="B69F58"/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ihandform: Form 92">
              <a:extLst>
                <a:ext uri="{FF2B5EF4-FFF2-40B4-BE49-F238E27FC236}">
                  <a16:creationId xmlns:a16="http://schemas.microsoft.com/office/drawing/2014/main" id="{91430E79-E743-4327-A9DA-723FE32A5744}"/>
                </a:ext>
              </a:extLst>
            </p:cNvPr>
            <p:cNvSpPr/>
            <p:nvPr/>
          </p:nvSpPr>
          <p:spPr>
            <a:xfrm>
              <a:off x="5502220" y="6271640"/>
              <a:ext cx="1195994" cy="1093970"/>
            </a:xfrm>
            <a:custGeom>
              <a:avLst/>
              <a:gdLst>
                <a:gd name="connsiteX0" fmla="*/ 1195994 w 1195994"/>
                <a:gd name="connsiteY0" fmla="*/ 0 h 1093970"/>
                <a:gd name="connsiteX1" fmla="*/ 1175703 w 1195994"/>
                <a:gd name="connsiteY1" fmla="*/ 132954 h 1093970"/>
                <a:gd name="connsiteX2" fmla="*/ 702139 w 1195994"/>
                <a:gd name="connsiteY2" fmla="*/ 1011314 h 1093970"/>
                <a:gd name="connsiteX3" fmla="*/ 611194 w 1195994"/>
                <a:gd name="connsiteY3" fmla="*/ 1093970 h 1093970"/>
                <a:gd name="connsiteX4" fmla="*/ 608798 w 1195994"/>
                <a:gd name="connsiteY4" fmla="*/ 1092178 h 1093970"/>
                <a:gd name="connsiteX5" fmla="*/ 11857 w 1195994"/>
                <a:gd name="connsiteY5" fmla="*/ 101686 h 1093970"/>
                <a:gd name="connsiteX6" fmla="*/ 0 w 1195994"/>
                <a:gd name="connsiteY6" fmla="*/ 23993 h 1093970"/>
                <a:gd name="connsiteX7" fmla="*/ 48583 w 1195994"/>
                <a:gd name="connsiteY7" fmla="*/ 41774 h 1093970"/>
                <a:gd name="connsiteX8" fmla="*/ 565221 w 1195994"/>
                <a:gd name="connsiteY8" fmla="*/ 119882 h 1093970"/>
                <a:gd name="connsiteX9" fmla="*/ 1081859 w 1195994"/>
                <a:gd name="connsiteY9" fmla="*/ 41774 h 1093970"/>
                <a:gd name="connsiteX10" fmla="*/ 1195994 w 1195994"/>
                <a:gd name="connsiteY10" fmla="*/ 0 h 10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5994" h="1093970">
                  <a:moveTo>
                    <a:pt x="1195994" y="0"/>
                  </a:moveTo>
                  <a:lnTo>
                    <a:pt x="1175703" y="132954"/>
                  </a:lnTo>
                  <a:cubicBezTo>
                    <a:pt x="1106274" y="472248"/>
                    <a:pt x="937939" y="775514"/>
                    <a:pt x="702139" y="1011314"/>
                  </a:cubicBezTo>
                  <a:lnTo>
                    <a:pt x="611194" y="1093970"/>
                  </a:lnTo>
                  <a:lnTo>
                    <a:pt x="608798" y="1092178"/>
                  </a:lnTo>
                  <a:cubicBezTo>
                    <a:pt x="308480" y="844334"/>
                    <a:pt x="92858" y="497528"/>
                    <a:pt x="11857" y="101686"/>
                  </a:cubicBezTo>
                  <a:lnTo>
                    <a:pt x="0" y="23993"/>
                  </a:lnTo>
                  <a:lnTo>
                    <a:pt x="48583" y="41774"/>
                  </a:lnTo>
                  <a:cubicBezTo>
                    <a:pt x="211789" y="92536"/>
                    <a:pt x="385312" y="119882"/>
                    <a:pt x="565221" y="119882"/>
                  </a:cubicBezTo>
                  <a:cubicBezTo>
                    <a:pt x="745131" y="119882"/>
                    <a:pt x="918653" y="92536"/>
                    <a:pt x="1081859" y="41774"/>
                  </a:cubicBezTo>
                  <a:lnTo>
                    <a:pt x="1195994" y="0"/>
                  </a:lnTo>
                  <a:close/>
                </a:path>
              </a:pathLst>
            </a:custGeom>
            <a:solidFill>
              <a:srgbClr val="0089E3">
                <a:lumMod val="40000"/>
                <a:lumOff val="60000"/>
                <a:alpha val="50000"/>
              </a:srgbClr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ihandform: Form 93">
              <a:extLst>
                <a:ext uri="{FF2B5EF4-FFF2-40B4-BE49-F238E27FC236}">
                  <a16:creationId xmlns:a16="http://schemas.microsoft.com/office/drawing/2014/main" id="{7984C3FA-7FF2-4B7E-A725-830BD2FEC960}"/>
                </a:ext>
              </a:extLst>
            </p:cNvPr>
            <p:cNvSpPr/>
            <p:nvPr/>
          </p:nvSpPr>
          <p:spPr>
            <a:xfrm>
              <a:off x="4345088" y="2916802"/>
              <a:ext cx="3436275" cy="1795230"/>
            </a:xfrm>
            <a:custGeom>
              <a:avLst/>
              <a:gdLst>
                <a:gd name="connsiteX0" fmla="*/ 1722354 w 3436275"/>
                <a:gd name="connsiteY0" fmla="*/ 0 h 1795230"/>
                <a:gd name="connsiteX1" fmla="*/ 3424417 w 3436275"/>
                <a:gd name="connsiteY1" fmla="*/ 1387221 h 1795230"/>
                <a:gd name="connsiteX2" fmla="*/ 3436275 w 3436275"/>
                <a:gd name="connsiteY2" fmla="*/ 1464915 h 1795230"/>
                <a:gd name="connsiteX3" fmla="*/ 3387691 w 3436275"/>
                <a:gd name="connsiteY3" fmla="*/ 1447133 h 1795230"/>
                <a:gd name="connsiteX4" fmla="*/ 2871053 w 3436275"/>
                <a:gd name="connsiteY4" fmla="*/ 1369025 h 1795230"/>
                <a:gd name="connsiteX5" fmla="*/ 1765931 w 3436275"/>
                <a:gd name="connsiteY5" fmla="*/ 1765754 h 1795230"/>
                <a:gd name="connsiteX6" fmla="*/ 1733499 w 3436275"/>
                <a:gd name="connsiteY6" fmla="*/ 1795230 h 1795230"/>
                <a:gd name="connsiteX7" fmla="*/ 1602147 w 3436275"/>
                <a:gd name="connsiteY7" fmla="*/ 1697007 h 1795230"/>
                <a:gd name="connsiteX8" fmla="*/ 630773 w 3436275"/>
                <a:gd name="connsiteY8" fmla="*/ 1400293 h 1795230"/>
                <a:gd name="connsiteX9" fmla="*/ 114135 w 3436275"/>
                <a:gd name="connsiteY9" fmla="*/ 1478401 h 1795230"/>
                <a:gd name="connsiteX10" fmla="*/ 0 w 3436275"/>
                <a:gd name="connsiteY10" fmla="*/ 1520175 h 1795230"/>
                <a:gd name="connsiteX11" fmla="*/ 20291 w 3436275"/>
                <a:gd name="connsiteY11" fmla="*/ 1387221 h 1795230"/>
                <a:gd name="connsiteX12" fmla="*/ 1722354 w 3436275"/>
                <a:gd name="connsiteY12" fmla="*/ 0 h 179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36275" h="1795230">
                  <a:moveTo>
                    <a:pt x="1722354" y="0"/>
                  </a:moveTo>
                  <a:cubicBezTo>
                    <a:pt x="2561932" y="0"/>
                    <a:pt x="3262415" y="595536"/>
                    <a:pt x="3424417" y="1387221"/>
                  </a:cubicBezTo>
                  <a:lnTo>
                    <a:pt x="3436275" y="1464915"/>
                  </a:lnTo>
                  <a:lnTo>
                    <a:pt x="3387691" y="1447133"/>
                  </a:lnTo>
                  <a:cubicBezTo>
                    <a:pt x="3224485" y="1396371"/>
                    <a:pt x="3050963" y="1369025"/>
                    <a:pt x="2871053" y="1369025"/>
                  </a:cubicBezTo>
                  <a:cubicBezTo>
                    <a:pt x="2451265" y="1369025"/>
                    <a:pt x="2066249" y="1517909"/>
                    <a:pt x="1765931" y="1765754"/>
                  </a:cubicBezTo>
                  <a:lnTo>
                    <a:pt x="1733499" y="1795230"/>
                  </a:lnTo>
                  <a:lnTo>
                    <a:pt x="1602147" y="1697007"/>
                  </a:lnTo>
                  <a:cubicBezTo>
                    <a:pt x="1324863" y="1509677"/>
                    <a:pt x="990592" y="1400293"/>
                    <a:pt x="630773" y="1400293"/>
                  </a:cubicBezTo>
                  <a:cubicBezTo>
                    <a:pt x="450863" y="1400293"/>
                    <a:pt x="277341" y="1427639"/>
                    <a:pt x="114135" y="1478401"/>
                  </a:cubicBezTo>
                  <a:lnTo>
                    <a:pt x="0" y="1520175"/>
                  </a:lnTo>
                  <a:lnTo>
                    <a:pt x="20291" y="1387221"/>
                  </a:lnTo>
                  <a:cubicBezTo>
                    <a:pt x="182293" y="595536"/>
                    <a:pt x="882776" y="0"/>
                    <a:pt x="1722354" y="0"/>
                  </a:cubicBezTo>
                  <a:close/>
                </a:path>
              </a:pathLst>
            </a:custGeom>
            <a:solidFill>
              <a:srgbClr val="F7AC01">
                <a:alpha val="85000"/>
              </a:srgbClr>
            </a:solidFill>
            <a:ln w="28575">
              <a:solidFill>
                <a:srgbClr val="FFFFFF"/>
              </a:solidFill>
            </a:ln>
            <a:effectLst/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ihandform: Form 94">
              <a:extLst>
                <a:ext uri="{FF2B5EF4-FFF2-40B4-BE49-F238E27FC236}">
                  <a16:creationId xmlns:a16="http://schemas.microsoft.com/office/drawing/2014/main" id="{0378BEE5-D7B9-403D-87D5-5301CC7D42AF}"/>
                </a:ext>
              </a:extLst>
            </p:cNvPr>
            <p:cNvSpPr/>
            <p:nvPr/>
          </p:nvSpPr>
          <p:spPr>
            <a:xfrm>
              <a:off x="6113414" y="4381717"/>
              <a:ext cx="2840086" cy="3378830"/>
            </a:xfrm>
            <a:custGeom>
              <a:avLst/>
              <a:gdLst>
                <a:gd name="connsiteX0" fmla="*/ 1667948 w 2840086"/>
                <a:gd name="connsiteY0" fmla="*/ 0 h 3378830"/>
                <a:gd name="connsiteX1" fmla="*/ 1778985 w 2840086"/>
                <a:gd name="connsiteY1" fmla="*/ 40640 h 3378830"/>
                <a:gd name="connsiteX2" fmla="*/ 2840086 w 2840086"/>
                <a:gd name="connsiteY2" fmla="*/ 1641470 h 3378830"/>
                <a:gd name="connsiteX3" fmla="*/ 1102726 w 2840086"/>
                <a:gd name="connsiteY3" fmla="*/ 3378830 h 3378830"/>
                <a:gd name="connsiteX4" fmla="*/ 131352 w 2840086"/>
                <a:gd name="connsiteY4" fmla="*/ 3082116 h 3378830"/>
                <a:gd name="connsiteX5" fmla="*/ 0 w 2840086"/>
                <a:gd name="connsiteY5" fmla="*/ 2983893 h 3378830"/>
                <a:gd name="connsiteX6" fmla="*/ 90945 w 2840086"/>
                <a:gd name="connsiteY6" fmla="*/ 2901237 h 3378830"/>
                <a:gd name="connsiteX7" fmla="*/ 564509 w 2840086"/>
                <a:gd name="connsiteY7" fmla="*/ 2022877 h 3378830"/>
                <a:gd name="connsiteX8" fmla="*/ 584800 w 2840086"/>
                <a:gd name="connsiteY8" fmla="*/ 1889923 h 3378830"/>
                <a:gd name="connsiteX9" fmla="*/ 630286 w 2840086"/>
                <a:gd name="connsiteY9" fmla="*/ 1873275 h 3378830"/>
                <a:gd name="connsiteX10" fmla="*/ 1691387 w 2840086"/>
                <a:gd name="connsiteY10" fmla="*/ 272445 h 3378830"/>
                <a:gd name="connsiteX11" fmla="*/ 1682417 w 2840086"/>
                <a:gd name="connsiteY11" fmla="*/ 94810 h 3378830"/>
                <a:gd name="connsiteX12" fmla="*/ 1667948 w 2840086"/>
                <a:gd name="connsiteY12" fmla="*/ 0 h 337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40086" h="3378830">
                  <a:moveTo>
                    <a:pt x="1667948" y="0"/>
                  </a:moveTo>
                  <a:lnTo>
                    <a:pt x="1778985" y="40640"/>
                  </a:lnTo>
                  <a:cubicBezTo>
                    <a:pt x="2402549" y="304386"/>
                    <a:pt x="2840086" y="921832"/>
                    <a:pt x="2840086" y="1641470"/>
                  </a:cubicBezTo>
                  <a:cubicBezTo>
                    <a:pt x="2840086" y="2600987"/>
                    <a:pt x="2062243" y="3378830"/>
                    <a:pt x="1102726" y="3378830"/>
                  </a:cubicBezTo>
                  <a:cubicBezTo>
                    <a:pt x="742907" y="3378830"/>
                    <a:pt x="408636" y="3269446"/>
                    <a:pt x="131352" y="3082116"/>
                  </a:cubicBezTo>
                  <a:lnTo>
                    <a:pt x="0" y="2983893"/>
                  </a:lnTo>
                  <a:lnTo>
                    <a:pt x="90945" y="2901237"/>
                  </a:lnTo>
                  <a:cubicBezTo>
                    <a:pt x="326745" y="2665437"/>
                    <a:pt x="495080" y="2362171"/>
                    <a:pt x="564509" y="2022877"/>
                  </a:cubicBezTo>
                  <a:lnTo>
                    <a:pt x="584800" y="1889923"/>
                  </a:lnTo>
                  <a:lnTo>
                    <a:pt x="630286" y="1873275"/>
                  </a:lnTo>
                  <a:cubicBezTo>
                    <a:pt x="1253851" y="1609529"/>
                    <a:pt x="1691387" y="992083"/>
                    <a:pt x="1691387" y="272445"/>
                  </a:cubicBezTo>
                  <a:cubicBezTo>
                    <a:pt x="1691387" y="212475"/>
                    <a:pt x="1688349" y="153215"/>
                    <a:pt x="1682417" y="94810"/>
                  </a:cubicBezTo>
                  <a:lnTo>
                    <a:pt x="1667948" y="0"/>
                  </a:lnTo>
                  <a:close/>
                </a:path>
              </a:pathLst>
            </a:custGeom>
            <a:solidFill>
              <a:srgbClr val="A6ADB1"/>
            </a:solidFill>
            <a:ln w="28575">
              <a:solidFill>
                <a:srgbClr val="FFFFFF"/>
              </a:solidFill>
            </a:ln>
            <a:effectLst/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ihandform: Form 96">
              <a:extLst>
                <a:ext uri="{FF2B5EF4-FFF2-40B4-BE49-F238E27FC236}">
                  <a16:creationId xmlns:a16="http://schemas.microsoft.com/office/drawing/2014/main" id="{0C95C2CE-C075-4D83-B344-0709A7D4BDD8}"/>
                </a:ext>
              </a:extLst>
            </p:cNvPr>
            <p:cNvSpPr/>
            <p:nvPr/>
          </p:nvSpPr>
          <p:spPr>
            <a:xfrm>
              <a:off x="5478780" y="4712032"/>
              <a:ext cx="1234440" cy="1679490"/>
            </a:xfrm>
            <a:custGeom>
              <a:avLst/>
              <a:gdLst>
                <a:gd name="connsiteX0" fmla="*/ 599806 w 1234440"/>
                <a:gd name="connsiteY0" fmla="*/ 0 h 1679490"/>
                <a:gd name="connsiteX1" fmla="*/ 602202 w 1234440"/>
                <a:gd name="connsiteY1" fmla="*/ 1792 h 1679490"/>
                <a:gd name="connsiteX2" fmla="*/ 1234440 w 1234440"/>
                <a:gd name="connsiteY2" fmla="*/ 1342423 h 1679490"/>
                <a:gd name="connsiteX3" fmla="*/ 1225470 w 1234440"/>
                <a:gd name="connsiteY3" fmla="*/ 1520058 h 1679490"/>
                <a:gd name="connsiteX4" fmla="*/ 1219434 w 1234440"/>
                <a:gd name="connsiteY4" fmla="*/ 1559608 h 1679490"/>
                <a:gd name="connsiteX5" fmla="*/ 1105299 w 1234440"/>
                <a:gd name="connsiteY5" fmla="*/ 1601382 h 1679490"/>
                <a:gd name="connsiteX6" fmla="*/ 588661 w 1234440"/>
                <a:gd name="connsiteY6" fmla="*/ 1679490 h 1679490"/>
                <a:gd name="connsiteX7" fmla="*/ 72023 w 1234440"/>
                <a:gd name="connsiteY7" fmla="*/ 1601382 h 1679490"/>
                <a:gd name="connsiteX8" fmla="*/ 23440 w 1234440"/>
                <a:gd name="connsiteY8" fmla="*/ 1583601 h 1679490"/>
                <a:gd name="connsiteX9" fmla="*/ 8970 w 1234440"/>
                <a:gd name="connsiteY9" fmla="*/ 1488790 h 1679490"/>
                <a:gd name="connsiteX10" fmla="*/ 0 w 1234440"/>
                <a:gd name="connsiteY10" fmla="*/ 1311155 h 1679490"/>
                <a:gd name="connsiteX11" fmla="*/ 508861 w 1234440"/>
                <a:gd name="connsiteY11" fmla="*/ 82656 h 1679490"/>
                <a:gd name="connsiteX12" fmla="*/ 599806 w 1234440"/>
                <a:gd name="connsiteY12" fmla="*/ 0 h 167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4440" h="1679490">
                  <a:moveTo>
                    <a:pt x="599806" y="0"/>
                  </a:moveTo>
                  <a:lnTo>
                    <a:pt x="602202" y="1792"/>
                  </a:lnTo>
                  <a:cubicBezTo>
                    <a:pt x="988326" y="320449"/>
                    <a:pt x="1234440" y="802695"/>
                    <a:pt x="1234440" y="1342423"/>
                  </a:cubicBezTo>
                  <a:cubicBezTo>
                    <a:pt x="1234440" y="1402393"/>
                    <a:pt x="1231402" y="1461653"/>
                    <a:pt x="1225470" y="1520058"/>
                  </a:cubicBezTo>
                  <a:lnTo>
                    <a:pt x="1219434" y="1559608"/>
                  </a:lnTo>
                  <a:lnTo>
                    <a:pt x="1105299" y="1601382"/>
                  </a:lnTo>
                  <a:cubicBezTo>
                    <a:pt x="942093" y="1652144"/>
                    <a:pt x="768571" y="1679490"/>
                    <a:pt x="588661" y="1679490"/>
                  </a:cubicBezTo>
                  <a:cubicBezTo>
                    <a:pt x="408752" y="1679490"/>
                    <a:pt x="235229" y="1652144"/>
                    <a:pt x="72023" y="1601382"/>
                  </a:cubicBezTo>
                  <a:lnTo>
                    <a:pt x="23440" y="1583601"/>
                  </a:lnTo>
                  <a:lnTo>
                    <a:pt x="8970" y="1488790"/>
                  </a:lnTo>
                  <a:cubicBezTo>
                    <a:pt x="3039" y="1430385"/>
                    <a:pt x="0" y="1371125"/>
                    <a:pt x="0" y="1311155"/>
                  </a:cubicBezTo>
                  <a:cubicBezTo>
                    <a:pt x="0" y="831397"/>
                    <a:pt x="194461" y="397057"/>
                    <a:pt x="508861" y="82656"/>
                  </a:cubicBezTo>
                  <a:lnTo>
                    <a:pt x="599806" y="0"/>
                  </a:lnTo>
                  <a:close/>
                </a:path>
              </a:pathLst>
            </a:custGeom>
            <a:solidFill>
              <a:srgbClr val="003B7D"/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15" name="Rectangle 76">
            <a:extLst>
              <a:ext uri="{FF2B5EF4-FFF2-40B4-BE49-F238E27FC236}">
                <a16:creationId xmlns:a16="http://schemas.microsoft.com/office/drawing/2014/main" id="{DABB8BC0-98B6-48E1-9E47-DDF87E106A81}"/>
              </a:ext>
            </a:extLst>
          </p:cNvPr>
          <p:cNvSpPr/>
          <p:nvPr userDrawn="1"/>
        </p:nvSpPr>
        <p:spPr>
          <a:xfrm rot="3739781">
            <a:off x="5105609" y="2668922"/>
            <a:ext cx="3532632" cy="3710018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10766304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 w="0"/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LIVERY</a:t>
            </a:r>
          </a:p>
        </p:txBody>
      </p:sp>
      <p:pic>
        <p:nvPicPr>
          <p:cNvPr id="16" name="Picture 63">
            <a:extLst>
              <a:ext uri="{FF2B5EF4-FFF2-40B4-BE49-F238E27FC236}">
                <a16:creationId xmlns:a16="http://schemas.microsoft.com/office/drawing/2014/main" id="{A00C619C-208D-486B-B7DE-FC60D66431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6256" y="1617954"/>
            <a:ext cx="976711" cy="594520"/>
          </a:xfrm>
          <a:prstGeom prst="rect">
            <a:avLst/>
          </a:prstGeom>
        </p:spPr>
      </p:pic>
      <p:grpSp>
        <p:nvGrpSpPr>
          <p:cNvPr id="17" name="Group 67">
            <a:extLst>
              <a:ext uri="{FF2B5EF4-FFF2-40B4-BE49-F238E27FC236}">
                <a16:creationId xmlns:a16="http://schemas.microsoft.com/office/drawing/2014/main" id="{4A445126-F58B-482D-8D9B-7899013567E5}"/>
              </a:ext>
            </a:extLst>
          </p:cNvPr>
          <p:cNvGrpSpPr/>
          <p:nvPr userDrawn="1"/>
        </p:nvGrpSpPr>
        <p:grpSpPr>
          <a:xfrm>
            <a:off x="6923276" y="4856874"/>
            <a:ext cx="1117345" cy="607296"/>
            <a:chOff x="6884891" y="3283261"/>
            <a:chExt cx="857225" cy="460141"/>
          </a:xfrm>
          <a:solidFill>
            <a:srgbClr val="FFFFFF"/>
          </a:solidFill>
        </p:grpSpPr>
        <p:sp>
          <p:nvSpPr>
            <p:cNvPr id="18" name="Freihandform: Form 104">
              <a:extLst>
                <a:ext uri="{FF2B5EF4-FFF2-40B4-BE49-F238E27FC236}">
                  <a16:creationId xmlns:a16="http://schemas.microsoft.com/office/drawing/2014/main" id="{98661FC9-2DF7-4D4B-A2DC-0A9746856745}"/>
                </a:ext>
              </a:extLst>
            </p:cNvPr>
            <p:cNvSpPr/>
            <p:nvPr/>
          </p:nvSpPr>
          <p:spPr>
            <a:xfrm rot="19078378">
              <a:off x="7034394" y="3623216"/>
              <a:ext cx="147961" cy="120186"/>
            </a:xfrm>
            <a:custGeom>
              <a:avLst/>
              <a:gdLst>
                <a:gd name="connsiteX0" fmla="*/ 147961 w 147961"/>
                <a:gd name="connsiteY0" fmla="*/ 60093 h 120186"/>
                <a:gd name="connsiteX1" fmla="*/ 73981 w 147961"/>
                <a:gd name="connsiteY1" fmla="*/ 120186 h 120186"/>
                <a:gd name="connsiteX2" fmla="*/ 0 w 147961"/>
                <a:gd name="connsiteY2" fmla="*/ 60093 h 120186"/>
                <a:gd name="connsiteX3" fmla="*/ 73981 w 147961"/>
                <a:gd name="connsiteY3" fmla="*/ 0 h 120186"/>
                <a:gd name="connsiteX4" fmla="*/ 147961 w 147961"/>
                <a:gd name="connsiteY4" fmla="*/ 60093 h 120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961" h="120186">
                  <a:moveTo>
                    <a:pt x="147961" y="60093"/>
                  </a:moveTo>
                  <a:cubicBezTo>
                    <a:pt x="147961" y="93282"/>
                    <a:pt x="114839" y="120186"/>
                    <a:pt x="73981" y="120186"/>
                  </a:cubicBezTo>
                  <a:cubicBezTo>
                    <a:pt x="33122" y="120186"/>
                    <a:pt x="0" y="93282"/>
                    <a:pt x="0" y="60093"/>
                  </a:cubicBezTo>
                  <a:cubicBezTo>
                    <a:pt x="0" y="26905"/>
                    <a:pt x="33122" y="0"/>
                    <a:pt x="73981" y="0"/>
                  </a:cubicBezTo>
                  <a:cubicBezTo>
                    <a:pt x="114839" y="0"/>
                    <a:pt x="147961" y="26905"/>
                    <a:pt x="147961" y="600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ihandform: Form 105">
              <a:extLst>
                <a:ext uri="{FF2B5EF4-FFF2-40B4-BE49-F238E27FC236}">
                  <a16:creationId xmlns:a16="http://schemas.microsoft.com/office/drawing/2014/main" id="{532C6FAE-8E1A-4DE7-AAB7-3E49978BB019}"/>
                </a:ext>
              </a:extLst>
            </p:cNvPr>
            <p:cNvSpPr/>
            <p:nvPr/>
          </p:nvSpPr>
          <p:spPr>
            <a:xfrm rot="19078378">
              <a:off x="7506034" y="3623216"/>
              <a:ext cx="147961" cy="120186"/>
            </a:xfrm>
            <a:custGeom>
              <a:avLst/>
              <a:gdLst>
                <a:gd name="connsiteX0" fmla="*/ 147961 w 147961"/>
                <a:gd name="connsiteY0" fmla="*/ 60093 h 120186"/>
                <a:gd name="connsiteX1" fmla="*/ 73981 w 147961"/>
                <a:gd name="connsiteY1" fmla="*/ 120186 h 120186"/>
                <a:gd name="connsiteX2" fmla="*/ 0 w 147961"/>
                <a:gd name="connsiteY2" fmla="*/ 60093 h 120186"/>
                <a:gd name="connsiteX3" fmla="*/ 73981 w 147961"/>
                <a:gd name="connsiteY3" fmla="*/ 0 h 120186"/>
                <a:gd name="connsiteX4" fmla="*/ 147961 w 147961"/>
                <a:gd name="connsiteY4" fmla="*/ 60093 h 120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961" h="120186">
                  <a:moveTo>
                    <a:pt x="147961" y="60093"/>
                  </a:moveTo>
                  <a:cubicBezTo>
                    <a:pt x="147961" y="93282"/>
                    <a:pt x="114839" y="120186"/>
                    <a:pt x="73981" y="120186"/>
                  </a:cubicBezTo>
                  <a:cubicBezTo>
                    <a:pt x="33122" y="120186"/>
                    <a:pt x="0" y="93282"/>
                    <a:pt x="0" y="60093"/>
                  </a:cubicBezTo>
                  <a:cubicBezTo>
                    <a:pt x="0" y="26905"/>
                    <a:pt x="33122" y="0"/>
                    <a:pt x="73981" y="0"/>
                  </a:cubicBezTo>
                  <a:cubicBezTo>
                    <a:pt x="114839" y="0"/>
                    <a:pt x="147961" y="26905"/>
                    <a:pt x="147961" y="600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ihandform: Form 106">
              <a:extLst>
                <a:ext uri="{FF2B5EF4-FFF2-40B4-BE49-F238E27FC236}">
                  <a16:creationId xmlns:a16="http://schemas.microsoft.com/office/drawing/2014/main" id="{07B3EE44-967E-40A3-8DF7-2AF0CDFE55EF}"/>
                </a:ext>
              </a:extLst>
            </p:cNvPr>
            <p:cNvSpPr/>
            <p:nvPr/>
          </p:nvSpPr>
          <p:spPr>
            <a:xfrm>
              <a:off x="6884891" y="3283261"/>
              <a:ext cx="607018" cy="228600"/>
            </a:xfrm>
            <a:custGeom>
              <a:avLst/>
              <a:gdLst>
                <a:gd name="connsiteX0" fmla="*/ 163944 w 607018"/>
                <a:gd name="connsiteY0" fmla="*/ 0 h 228600"/>
                <a:gd name="connsiteX1" fmla="*/ 150057 w 607018"/>
                <a:gd name="connsiteY1" fmla="*/ 66675 h 228600"/>
                <a:gd name="connsiteX2" fmla="*/ 44053 w 607018"/>
                <a:gd name="connsiteY2" fmla="*/ 66675 h 228600"/>
                <a:gd name="connsiteX3" fmla="*/ 38100 w 607018"/>
                <a:gd name="connsiteY3" fmla="*/ 95250 h 228600"/>
                <a:gd name="connsiteX4" fmla="*/ 144104 w 607018"/>
                <a:gd name="connsiteY4" fmla="*/ 95250 h 228600"/>
                <a:gd name="connsiteX5" fmla="*/ 136169 w 607018"/>
                <a:gd name="connsiteY5" fmla="*/ 133350 h 228600"/>
                <a:gd name="connsiteX6" fmla="*/ 63103 w 607018"/>
                <a:gd name="connsiteY6" fmla="*/ 133350 h 228600"/>
                <a:gd name="connsiteX7" fmla="*/ 57150 w 607018"/>
                <a:gd name="connsiteY7" fmla="*/ 161925 h 228600"/>
                <a:gd name="connsiteX8" fmla="*/ 130216 w 607018"/>
                <a:gd name="connsiteY8" fmla="*/ 161925 h 228600"/>
                <a:gd name="connsiteX9" fmla="*/ 122282 w 607018"/>
                <a:gd name="connsiteY9" fmla="*/ 200025 h 228600"/>
                <a:gd name="connsiteX10" fmla="*/ 5953 w 607018"/>
                <a:gd name="connsiteY10" fmla="*/ 200025 h 228600"/>
                <a:gd name="connsiteX11" fmla="*/ 0 w 607018"/>
                <a:gd name="connsiteY11" fmla="*/ 228600 h 228600"/>
                <a:gd name="connsiteX12" fmla="*/ 116329 w 607018"/>
                <a:gd name="connsiteY12" fmla="*/ 228600 h 228600"/>
                <a:gd name="connsiteX13" fmla="*/ 196453 w 607018"/>
                <a:gd name="connsiteY13" fmla="*/ 228600 h 228600"/>
                <a:gd name="connsiteX14" fmla="*/ 559394 w 607018"/>
                <a:gd name="connsiteY14" fmla="*/ 228600 h 228600"/>
                <a:gd name="connsiteX15" fmla="*/ 607019 w 607018"/>
                <a:gd name="connsiteY15" fmla="*/ 0 h 228600"/>
                <a:gd name="connsiteX16" fmla="*/ 163944 w 607018"/>
                <a:gd name="connsiteY16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7018" h="228600">
                  <a:moveTo>
                    <a:pt x="163944" y="0"/>
                  </a:moveTo>
                  <a:lnTo>
                    <a:pt x="150057" y="66675"/>
                  </a:lnTo>
                  <a:lnTo>
                    <a:pt x="44053" y="66675"/>
                  </a:lnTo>
                  <a:lnTo>
                    <a:pt x="38100" y="95250"/>
                  </a:lnTo>
                  <a:lnTo>
                    <a:pt x="144104" y="95250"/>
                  </a:lnTo>
                  <a:lnTo>
                    <a:pt x="136169" y="133350"/>
                  </a:lnTo>
                  <a:lnTo>
                    <a:pt x="63103" y="133350"/>
                  </a:lnTo>
                  <a:lnTo>
                    <a:pt x="57150" y="161925"/>
                  </a:lnTo>
                  <a:lnTo>
                    <a:pt x="130216" y="161925"/>
                  </a:lnTo>
                  <a:lnTo>
                    <a:pt x="122282" y="200025"/>
                  </a:lnTo>
                  <a:lnTo>
                    <a:pt x="5953" y="200025"/>
                  </a:lnTo>
                  <a:lnTo>
                    <a:pt x="0" y="228600"/>
                  </a:lnTo>
                  <a:lnTo>
                    <a:pt x="116329" y="228600"/>
                  </a:lnTo>
                  <a:lnTo>
                    <a:pt x="196453" y="228600"/>
                  </a:lnTo>
                  <a:lnTo>
                    <a:pt x="559394" y="228600"/>
                  </a:lnTo>
                  <a:lnTo>
                    <a:pt x="607019" y="0"/>
                  </a:lnTo>
                  <a:lnTo>
                    <a:pt x="16394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ihandform: Form 107">
              <a:extLst>
                <a:ext uri="{FF2B5EF4-FFF2-40B4-BE49-F238E27FC236}">
                  <a16:creationId xmlns:a16="http://schemas.microsoft.com/office/drawing/2014/main" id="{2455C5AD-201D-4B55-90B2-58E2E32F7CEB}"/>
                </a:ext>
              </a:extLst>
            </p:cNvPr>
            <p:cNvSpPr/>
            <p:nvPr/>
          </p:nvSpPr>
          <p:spPr>
            <a:xfrm>
              <a:off x="7446705" y="3340371"/>
              <a:ext cx="295411" cy="342939"/>
            </a:xfrm>
            <a:custGeom>
              <a:avLst/>
              <a:gdLst>
                <a:gd name="connsiteX0" fmla="*/ 285550 w 295411"/>
                <a:gd name="connsiteY0" fmla="*/ 179109 h 342939"/>
                <a:gd name="connsiteX1" fmla="*/ 243011 w 295411"/>
                <a:gd name="connsiteY1" fmla="*/ 141009 h 342939"/>
                <a:gd name="connsiteX2" fmla="*/ 233839 w 295411"/>
                <a:gd name="connsiteY2" fmla="*/ 121007 h 342939"/>
                <a:gd name="connsiteX3" fmla="*/ 228476 w 295411"/>
                <a:gd name="connsiteY3" fmla="*/ 55284 h 342939"/>
                <a:gd name="connsiteX4" fmla="*/ 166688 w 295411"/>
                <a:gd name="connsiteY4" fmla="*/ 39 h 342939"/>
                <a:gd name="connsiteX5" fmla="*/ 71438 w 295411"/>
                <a:gd name="connsiteY5" fmla="*/ 39 h 342939"/>
                <a:gd name="connsiteX6" fmla="*/ 43615 w 295411"/>
                <a:gd name="connsiteY6" fmla="*/ 133389 h 342939"/>
                <a:gd name="connsiteX7" fmla="*/ 31709 w 295411"/>
                <a:gd name="connsiteY7" fmla="*/ 190539 h 342939"/>
                <a:gd name="connsiteX8" fmla="*/ 0 w 295411"/>
                <a:gd name="connsiteY8" fmla="*/ 342939 h 342939"/>
                <a:gd name="connsiteX9" fmla="*/ 38100 w 295411"/>
                <a:gd name="connsiteY9" fmla="*/ 342939 h 342939"/>
                <a:gd name="connsiteX10" fmla="*/ 153191 w 295411"/>
                <a:gd name="connsiteY10" fmla="*/ 247689 h 342939"/>
                <a:gd name="connsiteX11" fmla="*/ 228600 w 295411"/>
                <a:gd name="connsiteY11" fmla="*/ 342939 h 342939"/>
                <a:gd name="connsiteX12" fmla="*/ 274634 w 295411"/>
                <a:gd name="connsiteY12" fmla="*/ 304839 h 342939"/>
                <a:gd name="connsiteX13" fmla="*/ 294484 w 295411"/>
                <a:gd name="connsiteY13" fmla="*/ 209589 h 342939"/>
                <a:gd name="connsiteX14" fmla="*/ 285550 w 295411"/>
                <a:gd name="connsiteY14" fmla="*/ 179109 h 342939"/>
                <a:gd name="connsiteX15" fmla="*/ 81715 w 295411"/>
                <a:gd name="connsiteY15" fmla="*/ 133389 h 342939"/>
                <a:gd name="connsiteX16" fmla="*/ 101556 w 295411"/>
                <a:gd name="connsiteY16" fmla="*/ 38139 h 342939"/>
                <a:gd name="connsiteX17" fmla="*/ 158706 w 295411"/>
                <a:gd name="connsiteY17" fmla="*/ 38139 h 342939"/>
                <a:gd name="connsiteX18" fmla="*/ 189135 w 295411"/>
                <a:gd name="connsiteY18" fmla="*/ 64731 h 342939"/>
                <a:gd name="connsiteX19" fmla="*/ 189186 w 295411"/>
                <a:gd name="connsiteY19" fmla="*/ 65762 h 342939"/>
                <a:gd name="connsiteX20" fmla="*/ 194548 w 295411"/>
                <a:gd name="connsiteY20" fmla="*/ 131484 h 342939"/>
                <a:gd name="connsiteX21" fmla="*/ 195101 w 295411"/>
                <a:gd name="connsiteY21" fmla="*/ 133389 h 34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5411" h="342939">
                  <a:moveTo>
                    <a:pt x="285550" y="179109"/>
                  </a:moveTo>
                  <a:lnTo>
                    <a:pt x="243011" y="141009"/>
                  </a:lnTo>
                  <a:cubicBezTo>
                    <a:pt x="237328" y="135891"/>
                    <a:pt x="234008" y="128653"/>
                    <a:pt x="233839" y="121007"/>
                  </a:cubicBezTo>
                  <a:lnTo>
                    <a:pt x="228476" y="55284"/>
                  </a:lnTo>
                  <a:cubicBezTo>
                    <a:pt x="226043" y="23272"/>
                    <a:pt x="198772" y="-1112"/>
                    <a:pt x="166688" y="39"/>
                  </a:cubicBezTo>
                  <a:lnTo>
                    <a:pt x="71438" y="39"/>
                  </a:lnTo>
                  <a:lnTo>
                    <a:pt x="43615" y="133389"/>
                  </a:lnTo>
                  <a:lnTo>
                    <a:pt x="31709" y="190539"/>
                  </a:lnTo>
                  <a:lnTo>
                    <a:pt x="0" y="342939"/>
                  </a:lnTo>
                  <a:lnTo>
                    <a:pt x="38100" y="342939"/>
                  </a:lnTo>
                  <a:cubicBezTo>
                    <a:pt x="49016" y="290552"/>
                    <a:pt x="100803" y="247689"/>
                    <a:pt x="153191" y="247689"/>
                  </a:cubicBezTo>
                  <a:cubicBezTo>
                    <a:pt x="205578" y="247689"/>
                    <a:pt x="239478" y="290552"/>
                    <a:pt x="228600" y="342939"/>
                  </a:cubicBezTo>
                  <a:cubicBezTo>
                    <a:pt x="250741" y="341969"/>
                    <a:pt x="269541" y="326407"/>
                    <a:pt x="274634" y="304839"/>
                  </a:cubicBezTo>
                  <a:lnTo>
                    <a:pt x="294484" y="209589"/>
                  </a:lnTo>
                  <a:cubicBezTo>
                    <a:pt x="297220" y="198561"/>
                    <a:pt x="293805" y="186915"/>
                    <a:pt x="285550" y="179109"/>
                  </a:cubicBezTo>
                  <a:close/>
                  <a:moveTo>
                    <a:pt x="81715" y="133389"/>
                  </a:moveTo>
                  <a:lnTo>
                    <a:pt x="101556" y="38139"/>
                  </a:lnTo>
                  <a:lnTo>
                    <a:pt x="158706" y="38139"/>
                  </a:lnTo>
                  <a:cubicBezTo>
                    <a:pt x="174451" y="37079"/>
                    <a:pt x="188075" y="48985"/>
                    <a:pt x="189135" y="64731"/>
                  </a:cubicBezTo>
                  <a:cubicBezTo>
                    <a:pt x="189158" y="65074"/>
                    <a:pt x="189175" y="65418"/>
                    <a:pt x="189186" y="65762"/>
                  </a:cubicBezTo>
                  <a:lnTo>
                    <a:pt x="194548" y="131484"/>
                  </a:lnTo>
                  <a:cubicBezTo>
                    <a:pt x="194348" y="132437"/>
                    <a:pt x="195301" y="132437"/>
                    <a:pt x="195101" y="1333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ihandform: Form 108">
              <a:extLst>
                <a:ext uri="{FF2B5EF4-FFF2-40B4-BE49-F238E27FC236}">
                  <a16:creationId xmlns:a16="http://schemas.microsoft.com/office/drawing/2014/main" id="{AEE364E4-881F-4F31-B8ED-2131CA9FC192}"/>
                </a:ext>
              </a:extLst>
            </p:cNvPr>
            <p:cNvSpPr/>
            <p:nvPr/>
          </p:nvSpPr>
          <p:spPr>
            <a:xfrm>
              <a:off x="6965501" y="3549961"/>
              <a:ext cx="470887" cy="133350"/>
            </a:xfrm>
            <a:custGeom>
              <a:avLst/>
              <a:gdLst>
                <a:gd name="connsiteX0" fmla="*/ 0 w 470887"/>
                <a:gd name="connsiteY0" fmla="*/ 133350 h 133350"/>
                <a:gd name="connsiteX1" fmla="*/ 47625 w 470887"/>
                <a:gd name="connsiteY1" fmla="*/ 133350 h 133350"/>
                <a:gd name="connsiteX2" fmla="*/ 162716 w 470887"/>
                <a:gd name="connsiteY2" fmla="*/ 38100 h 133350"/>
                <a:gd name="connsiteX3" fmla="*/ 238125 w 470887"/>
                <a:gd name="connsiteY3" fmla="*/ 133350 h 133350"/>
                <a:gd name="connsiteX4" fmla="*/ 443103 w 470887"/>
                <a:gd name="connsiteY4" fmla="*/ 133350 h 133350"/>
                <a:gd name="connsiteX5" fmla="*/ 470887 w 470887"/>
                <a:gd name="connsiteY5" fmla="*/ 0 h 133350"/>
                <a:gd name="connsiteX6" fmla="*/ 27813 w 470887"/>
                <a:gd name="connsiteY6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887" h="133350">
                  <a:moveTo>
                    <a:pt x="0" y="133350"/>
                  </a:moveTo>
                  <a:lnTo>
                    <a:pt x="47625" y="133350"/>
                  </a:lnTo>
                  <a:cubicBezTo>
                    <a:pt x="58541" y="80963"/>
                    <a:pt x="110328" y="38100"/>
                    <a:pt x="162716" y="38100"/>
                  </a:cubicBezTo>
                  <a:cubicBezTo>
                    <a:pt x="215103" y="38100"/>
                    <a:pt x="249041" y="80963"/>
                    <a:pt x="238125" y="133350"/>
                  </a:cubicBezTo>
                  <a:lnTo>
                    <a:pt x="443103" y="133350"/>
                  </a:lnTo>
                  <a:lnTo>
                    <a:pt x="470887" y="0"/>
                  </a:lnTo>
                  <a:lnTo>
                    <a:pt x="278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3" name="Rectangle 75">
            <a:extLst>
              <a:ext uri="{FF2B5EF4-FFF2-40B4-BE49-F238E27FC236}">
                <a16:creationId xmlns:a16="http://schemas.microsoft.com/office/drawing/2014/main" id="{91DE898D-4994-405F-804F-07A1CBBC308A}"/>
              </a:ext>
            </a:extLst>
          </p:cNvPr>
          <p:cNvSpPr/>
          <p:nvPr userDrawn="1"/>
        </p:nvSpPr>
        <p:spPr>
          <a:xfrm>
            <a:off x="4266890" y="1346809"/>
            <a:ext cx="3532632" cy="3227280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9372287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 w="0"/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GITAL</a:t>
            </a:r>
          </a:p>
        </p:txBody>
      </p:sp>
      <p:sp>
        <p:nvSpPr>
          <p:cNvPr id="24" name="Freihandform: Form 95">
            <a:extLst>
              <a:ext uri="{FF2B5EF4-FFF2-40B4-BE49-F238E27FC236}">
                <a16:creationId xmlns:a16="http://schemas.microsoft.com/office/drawing/2014/main" id="{18B01C49-038D-47E4-90D6-10E94AD11331}"/>
              </a:ext>
            </a:extLst>
          </p:cNvPr>
          <p:cNvSpPr/>
          <p:nvPr userDrawn="1"/>
        </p:nvSpPr>
        <p:spPr>
          <a:xfrm>
            <a:off x="3148526" y="2652319"/>
            <a:ext cx="2922829" cy="3410752"/>
          </a:xfrm>
          <a:custGeom>
            <a:avLst/>
            <a:gdLst>
              <a:gd name="connsiteX0" fmla="*/ 1106587 w 2874914"/>
              <a:gd name="connsiteY0" fmla="*/ 0 h 3354838"/>
              <a:gd name="connsiteX1" fmla="*/ 1100551 w 2874914"/>
              <a:gd name="connsiteY1" fmla="*/ 39550 h 3354838"/>
              <a:gd name="connsiteX2" fmla="*/ 1091581 w 2874914"/>
              <a:gd name="connsiteY2" fmla="*/ 217185 h 3354838"/>
              <a:gd name="connsiteX3" fmla="*/ 2152682 w 2874914"/>
              <a:gd name="connsiteY3" fmla="*/ 1818015 h 3354838"/>
              <a:gd name="connsiteX4" fmla="*/ 2263720 w 2874914"/>
              <a:gd name="connsiteY4" fmla="*/ 1858656 h 3354838"/>
              <a:gd name="connsiteX5" fmla="*/ 2275577 w 2874914"/>
              <a:gd name="connsiteY5" fmla="*/ 1936349 h 3354838"/>
              <a:gd name="connsiteX6" fmla="*/ 2872518 w 2874914"/>
              <a:gd name="connsiteY6" fmla="*/ 2926841 h 3354838"/>
              <a:gd name="connsiteX7" fmla="*/ 2874914 w 2874914"/>
              <a:gd name="connsiteY7" fmla="*/ 2928633 h 3354838"/>
              <a:gd name="connsiteX8" fmla="*/ 2842482 w 2874914"/>
              <a:gd name="connsiteY8" fmla="*/ 2958109 h 3354838"/>
              <a:gd name="connsiteX9" fmla="*/ 1737360 w 2874914"/>
              <a:gd name="connsiteY9" fmla="*/ 3354838 h 3354838"/>
              <a:gd name="connsiteX10" fmla="*/ 0 w 2874914"/>
              <a:gd name="connsiteY10" fmla="*/ 1617478 h 3354838"/>
              <a:gd name="connsiteX11" fmla="*/ 1061101 w 2874914"/>
              <a:gd name="connsiteY11" fmla="*/ 16648 h 3354838"/>
              <a:gd name="connsiteX12" fmla="*/ 1106587 w 2874914"/>
              <a:gd name="connsiteY12" fmla="*/ 0 h 335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874914" h="3354838">
                <a:moveTo>
                  <a:pt x="1106587" y="0"/>
                </a:moveTo>
                <a:lnTo>
                  <a:pt x="1100551" y="39550"/>
                </a:lnTo>
                <a:cubicBezTo>
                  <a:pt x="1094619" y="97955"/>
                  <a:pt x="1091581" y="157215"/>
                  <a:pt x="1091581" y="217185"/>
                </a:cubicBezTo>
                <a:cubicBezTo>
                  <a:pt x="1091581" y="936823"/>
                  <a:pt x="1529117" y="1554269"/>
                  <a:pt x="2152682" y="1818015"/>
                </a:cubicBezTo>
                <a:lnTo>
                  <a:pt x="2263720" y="1858656"/>
                </a:lnTo>
                <a:lnTo>
                  <a:pt x="2275577" y="1936349"/>
                </a:lnTo>
                <a:cubicBezTo>
                  <a:pt x="2356578" y="2332191"/>
                  <a:pt x="2572200" y="2678997"/>
                  <a:pt x="2872518" y="2926841"/>
                </a:cubicBezTo>
                <a:lnTo>
                  <a:pt x="2874914" y="2928633"/>
                </a:lnTo>
                <a:lnTo>
                  <a:pt x="2842482" y="2958109"/>
                </a:lnTo>
                <a:cubicBezTo>
                  <a:pt x="2542164" y="3205954"/>
                  <a:pt x="2157148" y="3354838"/>
                  <a:pt x="1737360" y="3354838"/>
                </a:cubicBezTo>
                <a:cubicBezTo>
                  <a:pt x="777843" y="3354838"/>
                  <a:pt x="0" y="2576995"/>
                  <a:pt x="0" y="1617478"/>
                </a:cubicBezTo>
                <a:cubicBezTo>
                  <a:pt x="0" y="897840"/>
                  <a:pt x="437537" y="280394"/>
                  <a:pt x="1061101" y="16648"/>
                </a:cubicBezTo>
                <a:lnTo>
                  <a:pt x="1106587" y="0"/>
                </a:lnTo>
                <a:close/>
              </a:path>
            </a:pathLst>
          </a:custGeom>
          <a:solidFill>
            <a:srgbClr val="0089E3">
              <a:alpha val="50000"/>
            </a:srgbClr>
          </a:solidFill>
          <a:ln w="28575">
            <a:solidFill>
              <a:srgbClr val="FFFFFF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3B7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8A97CC28-0889-43C9-97D6-1BCF387670B0}"/>
              </a:ext>
            </a:extLst>
          </p:cNvPr>
          <p:cNvSpPr/>
          <p:nvPr userDrawn="1"/>
        </p:nvSpPr>
        <p:spPr>
          <a:xfrm>
            <a:off x="3888924" y="4826118"/>
            <a:ext cx="1505878" cy="588259"/>
          </a:xfrm>
          <a:custGeom>
            <a:avLst/>
            <a:gdLst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2056446 w 4139565"/>
              <a:gd name="connsiteY4" fmla="*/ 1197984 h 1616393"/>
              <a:gd name="connsiteX5" fmla="*/ 1989772 w 4139565"/>
              <a:gd name="connsiteY5" fmla="*/ 1203772 h 1616393"/>
              <a:gd name="connsiteX6" fmla="*/ 1989772 w 4139565"/>
              <a:gd name="connsiteY6" fmla="*/ 1584090 h 1616393"/>
              <a:gd name="connsiteX7" fmla="*/ 2056446 w 4139565"/>
              <a:gd name="connsiteY7" fmla="*/ 1584223 h 1616393"/>
              <a:gd name="connsiteX8" fmla="*/ 2426447 w 4139565"/>
              <a:gd name="connsiteY8" fmla="*/ 1165863 h 1616393"/>
              <a:gd name="connsiteX9" fmla="*/ 2199321 w 4139565"/>
              <a:gd name="connsiteY9" fmla="*/ 1185581 h 1616393"/>
              <a:gd name="connsiteX10" fmla="*/ 2199321 w 4139565"/>
              <a:gd name="connsiteY10" fmla="*/ 1584507 h 1616393"/>
              <a:gd name="connsiteX11" fmla="*/ 2426970 w 4139565"/>
              <a:gd name="connsiteY11" fmla="*/ 1584960 h 1616393"/>
              <a:gd name="connsiteX12" fmla="*/ 2199321 w 4139565"/>
              <a:gd name="connsiteY12" fmla="*/ 1144667 h 1616393"/>
              <a:gd name="connsiteX13" fmla="*/ 2199321 w 4139565"/>
              <a:gd name="connsiteY13" fmla="*/ 1144667 h 1616393"/>
              <a:gd name="connsiteX14" fmla="*/ 2386186 w 4139565"/>
              <a:gd name="connsiteY14" fmla="*/ 1160551 h 1616393"/>
              <a:gd name="connsiteX15" fmla="*/ 2425065 w 4139565"/>
              <a:gd name="connsiteY15" fmla="*/ 58103 h 1616393"/>
              <a:gd name="connsiteX16" fmla="*/ 34290 w 4139565"/>
              <a:gd name="connsiteY16" fmla="*/ 1084898 h 1616393"/>
              <a:gd name="connsiteX17" fmla="*/ 34290 w 4139565"/>
              <a:gd name="connsiteY17" fmla="*/ 1580198 h 1616393"/>
              <a:gd name="connsiteX18" fmla="*/ 1102994 w 4139565"/>
              <a:gd name="connsiteY18" fmla="*/ 1582325 h 1616393"/>
              <a:gd name="connsiteX19" fmla="*/ 1102994 w 4139565"/>
              <a:gd name="connsiteY19" fmla="*/ 1240156 h 1616393"/>
              <a:gd name="connsiteX20" fmla="*/ 2056446 w 4139565"/>
              <a:gd name="connsiteY20" fmla="*/ 1132523 h 1616393"/>
              <a:gd name="connsiteX21" fmla="*/ 2120328 w 4139565"/>
              <a:gd name="connsiteY21" fmla="*/ 1137953 h 1616393"/>
              <a:gd name="connsiteX22" fmla="*/ 2056447 w 4139565"/>
              <a:gd name="connsiteY22" fmla="*/ 1132523 h 1616393"/>
              <a:gd name="connsiteX23" fmla="*/ 2056447 w 4139565"/>
              <a:gd name="connsiteY23" fmla="*/ 1100138 h 1616393"/>
              <a:gd name="connsiteX24" fmla="*/ 2056446 w 4139565"/>
              <a:gd name="connsiteY24" fmla="*/ 1100138 h 1616393"/>
              <a:gd name="connsiteX25" fmla="*/ 1151572 w 4139565"/>
              <a:gd name="connsiteY25" fmla="*/ 1216343 h 1616393"/>
              <a:gd name="connsiteX26" fmla="*/ 1151572 w 4139565"/>
              <a:gd name="connsiteY26" fmla="*/ 1234441 h 1616393"/>
              <a:gd name="connsiteX27" fmla="*/ 2056011 w 4139565"/>
              <a:gd name="connsiteY27" fmla="*/ 1132572 h 1616393"/>
              <a:gd name="connsiteX28" fmla="*/ 1102994 w 4139565"/>
              <a:gd name="connsiteY28" fmla="*/ 1240156 h 1616393"/>
              <a:gd name="connsiteX29" fmla="*/ 1102994 w 4139565"/>
              <a:gd name="connsiteY29" fmla="*/ 1193483 h 1616393"/>
              <a:gd name="connsiteX30" fmla="*/ 2056446 w 4139565"/>
              <a:gd name="connsiteY30" fmla="*/ 1060133 h 1616393"/>
              <a:gd name="connsiteX31" fmla="*/ 2426351 w 4139565"/>
              <a:gd name="connsiteY31" fmla="*/ 1088800 h 1616393"/>
              <a:gd name="connsiteX32" fmla="*/ 2437446 w 4139565"/>
              <a:gd name="connsiteY32" fmla="*/ 0 h 1616393"/>
              <a:gd name="connsiteX33" fmla="*/ 2437447 w 4139565"/>
              <a:gd name="connsiteY33" fmla="*/ 0 h 1616393"/>
              <a:gd name="connsiteX34" fmla="*/ 2437447 w 4139565"/>
              <a:gd name="connsiteY34" fmla="*/ 1 h 1616393"/>
              <a:gd name="connsiteX35" fmla="*/ 4139564 w 4139565"/>
              <a:gd name="connsiteY35" fmla="*/ 742950 h 1616393"/>
              <a:gd name="connsiteX36" fmla="*/ 4139564 w 4139565"/>
              <a:gd name="connsiteY36" fmla="*/ 1451610 h 1616393"/>
              <a:gd name="connsiteX37" fmla="*/ 4139565 w 4139565"/>
              <a:gd name="connsiteY37" fmla="*/ 1451610 h 1616393"/>
              <a:gd name="connsiteX38" fmla="*/ 4139565 w 4139565"/>
              <a:gd name="connsiteY38" fmla="*/ 1616393 h 1616393"/>
              <a:gd name="connsiteX39" fmla="*/ 0 w 4139565"/>
              <a:gd name="connsiteY39" fmla="*/ 1616393 h 1616393"/>
              <a:gd name="connsiteX40" fmla="*/ 0 w 4139565"/>
              <a:gd name="connsiteY40" fmla="*/ 1451610 h 1616393"/>
              <a:gd name="connsiteX41" fmla="*/ 0 w 4139565"/>
              <a:gd name="connsiteY41" fmla="*/ 1063943 h 1616393"/>
              <a:gd name="connsiteX42" fmla="*/ 2437446 w 4139565"/>
              <a:gd name="connsiteY42" fmla="*/ 1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58103 h 1616393"/>
              <a:gd name="connsiteX20" fmla="*/ 34290 w 4139565"/>
              <a:gd name="connsiteY20" fmla="*/ 1084898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58103 h 1616393"/>
              <a:gd name="connsiteX37" fmla="*/ 2437446 w 4139565"/>
              <a:gd name="connsiteY37" fmla="*/ 0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6 w 4139565"/>
              <a:gd name="connsiteY48" fmla="*/ 0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58103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58103 h 1616393"/>
              <a:gd name="connsiteX37" fmla="*/ 2437446 w 4139565"/>
              <a:gd name="connsiteY37" fmla="*/ 0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6 w 4139565"/>
              <a:gd name="connsiteY48" fmla="*/ 0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6 w 4139565"/>
              <a:gd name="connsiteY37" fmla="*/ 0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6 w 4139565"/>
              <a:gd name="connsiteY48" fmla="*/ 0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89214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7 w 4139565"/>
              <a:gd name="connsiteY48" fmla="*/ 89214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170318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7 w 4139565"/>
              <a:gd name="connsiteY48" fmla="*/ 170318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170318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7 w 4139565"/>
              <a:gd name="connsiteY47" fmla="*/ 121656 h 1616393"/>
              <a:gd name="connsiteX48" fmla="*/ 2437447 w 4139565"/>
              <a:gd name="connsiteY48" fmla="*/ 170318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170318 h 1616393"/>
              <a:gd name="connsiteX38" fmla="*/ 2437447 w 4139565"/>
              <a:gd name="connsiteY38" fmla="*/ 0 h 1616393"/>
              <a:gd name="connsiteX39" fmla="*/ 2437447 w 4139565"/>
              <a:gd name="connsiteY39" fmla="*/ 121656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7 w 4139565"/>
              <a:gd name="connsiteY47" fmla="*/ 121656 h 1616393"/>
              <a:gd name="connsiteX48" fmla="*/ 2437447 w 4139565"/>
              <a:gd name="connsiteY48" fmla="*/ 170318 h 1616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139565" h="1616393">
                <a:moveTo>
                  <a:pt x="1245869" y="1240156"/>
                </a:moveTo>
                <a:lnTo>
                  <a:pt x="1245869" y="1582609"/>
                </a:lnTo>
                <a:lnTo>
                  <a:pt x="1570672" y="1583256"/>
                </a:lnTo>
                <a:lnTo>
                  <a:pt x="1570672" y="1240156"/>
                </a:lnTo>
                <a:lnTo>
                  <a:pt x="1245869" y="1240156"/>
                </a:lnTo>
                <a:close/>
                <a:moveTo>
                  <a:pt x="2056446" y="1197984"/>
                </a:moveTo>
                <a:lnTo>
                  <a:pt x="1989772" y="1203772"/>
                </a:lnTo>
                <a:lnTo>
                  <a:pt x="1989772" y="1584090"/>
                </a:lnTo>
                <a:lnTo>
                  <a:pt x="2056446" y="1584223"/>
                </a:lnTo>
                <a:lnTo>
                  <a:pt x="2056446" y="1197984"/>
                </a:lnTo>
                <a:close/>
                <a:moveTo>
                  <a:pt x="2426447" y="1165863"/>
                </a:moveTo>
                <a:lnTo>
                  <a:pt x="2199321" y="1185581"/>
                </a:lnTo>
                <a:lnTo>
                  <a:pt x="2199321" y="1584507"/>
                </a:lnTo>
                <a:lnTo>
                  <a:pt x="2426970" y="1584960"/>
                </a:lnTo>
                <a:cubicBezTo>
                  <a:pt x="2426796" y="1445261"/>
                  <a:pt x="2426621" y="1305562"/>
                  <a:pt x="2426447" y="1165863"/>
                </a:cubicBezTo>
                <a:close/>
                <a:moveTo>
                  <a:pt x="2199321" y="1144667"/>
                </a:moveTo>
                <a:lnTo>
                  <a:pt x="2199321" y="1144667"/>
                </a:lnTo>
                <a:lnTo>
                  <a:pt x="2386186" y="1160551"/>
                </a:lnTo>
                <a:lnTo>
                  <a:pt x="2199321" y="1144667"/>
                </a:lnTo>
                <a:close/>
                <a:moveTo>
                  <a:pt x="2425065" y="204091"/>
                </a:moveTo>
                <a:lnTo>
                  <a:pt x="34289" y="950505"/>
                </a:lnTo>
                <a:cubicBezTo>
                  <a:pt x="34289" y="1160403"/>
                  <a:pt x="34290" y="1370300"/>
                  <a:pt x="34290" y="1580198"/>
                </a:cubicBezTo>
                <a:lnTo>
                  <a:pt x="1102994" y="1582325"/>
                </a:lnTo>
                <a:lnTo>
                  <a:pt x="1102994" y="1240156"/>
                </a:lnTo>
                <a:lnTo>
                  <a:pt x="2056446" y="1132523"/>
                </a:lnTo>
                <a:lnTo>
                  <a:pt x="2120328" y="1137953"/>
                </a:lnTo>
                <a:lnTo>
                  <a:pt x="2056447" y="1132523"/>
                </a:lnTo>
                <a:lnTo>
                  <a:pt x="2056447" y="1100138"/>
                </a:lnTo>
                <a:lnTo>
                  <a:pt x="2056446" y="1100138"/>
                </a:lnTo>
                <a:lnTo>
                  <a:pt x="1151572" y="1216343"/>
                </a:lnTo>
                <a:lnTo>
                  <a:pt x="1151572" y="1234441"/>
                </a:lnTo>
                <a:lnTo>
                  <a:pt x="2056011" y="1132572"/>
                </a:lnTo>
                <a:lnTo>
                  <a:pt x="1102994" y="1240156"/>
                </a:lnTo>
                <a:lnTo>
                  <a:pt x="1102994" y="1193483"/>
                </a:lnTo>
                <a:lnTo>
                  <a:pt x="2056446" y="1060133"/>
                </a:lnTo>
                <a:lnTo>
                  <a:pt x="2426351" y="1088800"/>
                </a:lnTo>
                <a:cubicBezTo>
                  <a:pt x="2425922" y="745234"/>
                  <a:pt x="2425494" y="547657"/>
                  <a:pt x="2425065" y="204091"/>
                </a:cubicBezTo>
                <a:close/>
                <a:moveTo>
                  <a:pt x="2437447" y="170318"/>
                </a:moveTo>
                <a:lnTo>
                  <a:pt x="2437447" y="0"/>
                </a:lnTo>
                <a:lnTo>
                  <a:pt x="2437447" y="121656"/>
                </a:lnTo>
                <a:lnTo>
                  <a:pt x="4139564" y="742950"/>
                </a:lnTo>
                <a:lnTo>
                  <a:pt x="4139564" y="1451610"/>
                </a:lnTo>
                <a:lnTo>
                  <a:pt x="4139565" y="1451610"/>
                </a:lnTo>
                <a:lnTo>
                  <a:pt x="4139565" y="1616393"/>
                </a:lnTo>
                <a:lnTo>
                  <a:pt x="0" y="1616393"/>
                </a:lnTo>
                <a:lnTo>
                  <a:pt x="0" y="1451610"/>
                </a:lnTo>
                <a:lnTo>
                  <a:pt x="0" y="926806"/>
                </a:lnTo>
                <a:lnTo>
                  <a:pt x="2437447" y="121656"/>
                </a:lnTo>
                <a:lnTo>
                  <a:pt x="2437447" y="17031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itel 4">
            <a:extLst>
              <a:ext uri="{FF2B5EF4-FFF2-40B4-BE49-F238E27FC236}">
                <a16:creationId xmlns:a16="http://schemas.microsoft.com/office/drawing/2014/main" id="{01527EB2-4E81-4F4A-A479-9745177AA97F}"/>
              </a:ext>
            </a:extLst>
          </p:cNvPr>
          <p:cNvSpPr txBox="1">
            <a:spLocks/>
          </p:cNvSpPr>
          <p:nvPr userDrawn="1"/>
        </p:nvSpPr>
        <p:spPr>
          <a:xfrm>
            <a:off x="371475" y="441325"/>
            <a:ext cx="8148384" cy="47955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91440" tIns="36000" rIns="9144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ULTICHANNEL BUSINESS MODEL</a:t>
            </a:r>
          </a:p>
        </p:txBody>
      </p:sp>
      <p:grpSp>
        <p:nvGrpSpPr>
          <p:cNvPr id="28" name="Grafik 15">
            <a:extLst>
              <a:ext uri="{FF2B5EF4-FFF2-40B4-BE49-F238E27FC236}">
                <a16:creationId xmlns:a16="http://schemas.microsoft.com/office/drawing/2014/main" id="{FF9961F6-B4C2-4307-B95F-3362BF3EDCEF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29" name="Grafik 15">
              <a:extLst>
                <a:ext uri="{FF2B5EF4-FFF2-40B4-BE49-F238E27FC236}">
                  <a16:creationId xmlns:a16="http://schemas.microsoft.com/office/drawing/2014/main" id="{818CACE7-9DC8-4EB5-9C40-8912225FE442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349C37DD-29EB-47CE-805B-5DED323FEAE4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D055C658-6D73-41BE-A202-6645C65379EF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68AD79DB-091F-48EF-97C9-B4F985641686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77E180D9-E70A-42E4-AF63-BE07D79590B2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B0085BA5-E4D3-43FD-AAEB-66F6EF3DCF1D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0" name="Grafik 15">
              <a:extLst>
                <a:ext uri="{FF2B5EF4-FFF2-40B4-BE49-F238E27FC236}">
                  <a16:creationId xmlns:a16="http://schemas.microsoft.com/office/drawing/2014/main" id="{C668A73F-2871-40D2-9A76-744843ECD444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36" name="Freihandform 35">
                <a:extLst>
                  <a:ext uri="{FF2B5EF4-FFF2-40B4-BE49-F238E27FC236}">
                    <a16:creationId xmlns:a16="http://schemas.microsoft.com/office/drawing/2014/main" id="{3C40BFBF-EDAF-49C3-8857-3D9AEC30B251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34A5AC5F-4417-4B96-8EBA-1FA54068ED64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1" name="Grafik 15">
              <a:extLst>
                <a:ext uri="{FF2B5EF4-FFF2-40B4-BE49-F238E27FC236}">
                  <a16:creationId xmlns:a16="http://schemas.microsoft.com/office/drawing/2014/main" id="{28CAD831-AA77-4F12-9D55-28F99272930F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2EA2E678-70D9-4B19-99BE-7B0BB52088B9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" name="Freihandform 32">
                <a:extLst>
                  <a:ext uri="{FF2B5EF4-FFF2-40B4-BE49-F238E27FC236}">
                    <a16:creationId xmlns:a16="http://schemas.microsoft.com/office/drawing/2014/main" id="{EED47137-2884-44F5-8A8B-94732F9C38DB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4" name="Freihandform 33">
                <a:extLst>
                  <a:ext uri="{FF2B5EF4-FFF2-40B4-BE49-F238E27FC236}">
                    <a16:creationId xmlns:a16="http://schemas.microsoft.com/office/drawing/2014/main" id="{4420D36D-1AE4-4CEF-8A6F-E7506ECD5EC9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5" name="Freihandform 34">
                <a:extLst>
                  <a:ext uri="{FF2B5EF4-FFF2-40B4-BE49-F238E27FC236}">
                    <a16:creationId xmlns:a16="http://schemas.microsoft.com/office/drawing/2014/main" id="{53616D06-A371-4E0F-8B14-352CF36AD0BE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43" name="Holder 2">
            <a:extLst>
              <a:ext uri="{FF2B5EF4-FFF2-40B4-BE49-F238E27FC236}">
                <a16:creationId xmlns:a16="http://schemas.microsoft.com/office/drawing/2014/main" id="{62FB0E63-9783-43C7-A3BC-81CF1CA258B9}"/>
              </a:ext>
            </a:extLst>
          </p:cNvPr>
          <p:cNvSpPr txBox="1">
            <a:spLocks/>
          </p:cNvSpPr>
          <p:nvPr userDrawn="1"/>
        </p:nvSpPr>
        <p:spPr>
          <a:xfrm>
            <a:off x="2523939" y="6562797"/>
            <a:ext cx="1014729" cy="133984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rgbClr val="003B7D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de-DE" dirty="0"/>
              <a:t>© METRO</a:t>
            </a:r>
            <a:r>
              <a:rPr lang="de-DE" spc="-70" dirty="0"/>
              <a:t> </a:t>
            </a:r>
            <a:r>
              <a:rPr lang="de-DE" dirty="0"/>
              <a:t>AG.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CFE4DBA5-0A12-4DD6-97EF-C72CCC284F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880" y="213903"/>
            <a:ext cx="1852955" cy="1086681"/>
          </a:xfrm>
          <a:prstGeom prst="rect">
            <a:avLst/>
          </a:prstGeom>
        </p:spPr>
      </p:pic>
      <p:sp>
        <p:nvSpPr>
          <p:cNvPr id="46" name="object 84">
            <a:extLst>
              <a:ext uri="{FF2B5EF4-FFF2-40B4-BE49-F238E27FC236}">
                <a16:creationId xmlns:a16="http://schemas.microsoft.com/office/drawing/2014/main" id="{D9ADBEE3-D79A-4463-83BE-0CC86E3843CB}"/>
              </a:ext>
            </a:extLst>
          </p:cNvPr>
          <p:cNvSpPr/>
          <p:nvPr userDrawn="1"/>
        </p:nvSpPr>
        <p:spPr>
          <a:xfrm>
            <a:off x="371475" y="6416674"/>
            <a:ext cx="8857983" cy="107722"/>
          </a:xfrm>
          <a:custGeom>
            <a:avLst/>
            <a:gdLst/>
            <a:ahLst/>
            <a:cxnLst/>
            <a:rect l="l" t="t" r="r" b="b"/>
            <a:pathLst>
              <a:path w="9547225">
                <a:moveTo>
                  <a:pt x="0" y="0"/>
                </a:moveTo>
                <a:lnTo>
                  <a:pt x="9547199" y="0"/>
                </a:lnTo>
              </a:path>
            </a:pathLst>
          </a:custGeom>
          <a:ln w="10160">
            <a:solidFill>
              <a:srgbClr val="003B7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8D6B5290-5841-63B2-C279-71C7BCA67AB8}"/>
              </a:ext>
            </a:extLst>
          </p:cNvPr>
          <p:cNvSpPr txBox="1">
            <a:spLocks/>
          </p:cNvSpPr>
          <p:nvPr userDrawn="1"/>
        </p:nvSpPr>
        <p:spPr>
          <a:xfrm>
            <a:off x="364371" y="943713"/>
            <a:ext cx="3890758" cy="369332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5"/>
              </a:buBlip>
              <a:defRPr lang="de-DE" sz="20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23838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5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0000"/>
              </a:buClr>
              <a:buFontTx/>
              <a:buBlip>
                <a:blip r:embed="rId5"/>
              </a:buBlip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94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Tx/>
              <a:buBlip>
                <a:blip r:embed="rId5"/>
              </a:buBlip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882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5"/>
              </a:buBlip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</a:t>
            </a:r>
          </a:p>
        </p:txBody>
      </p:sp>
      <p:sp>
        <p:nvSpPr>
          <p:cNvPr id="27" name="Textplatzhalter 30">
            <a:extLst>
              <a:ext uri="{FF2B5EF4-FFF2-40B4-BE49-F238E27FC236}">
                <a16:creationId xmlns:a16="http://schemas.microsoft.com/office/drawing/2014/main" id="{A59F7811-E188-9853-AD89-646C6526EEF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2132" y="945620"/>
            <a:ext cx="3656851" cy="322317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0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7758362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or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>
            <a:extLst>
              <a:ext uri="{FF2B5EF4-FFF2-40B4-BE49-F238E27FC236}">
                <a16:creationId xmlns:a16="http://schemas.microsoft.com/office/drawing/2014/main" id="{7694BACB-F365-4522-A23A-4A3D8A0A84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129" y="1"/>
            <a:ext cx="11807871" cy="6209147"/>
          </a:xfrm>
          <a:prstGeom prst="rect">
            <a:avLst/>
          </a:prstGeom>
        </p:spPr>
      </p:pic>
      <p:sp>
        <p:nvSpPr>
          <p:cNvPr id="53" name="Rechteck 52">
            <a:extLst>
              <a:ext uri="{FF2B5EF4-FFF2-40B4-BE49-F238E27FC236}">
                <a16:creationId xmlns:a16="http://schemas.microsoft.com/office/drawing/2014/main" id="{3A002782-15EC-4564-A199-97390C24A18C}"/>
              </a:ext>
            </a:extLst>
          </p:cNvPr>
          <p:cNvSpPr/>
          <p:nvPr userDrawn="1"/>
        </p:nvSpPr>
        <p:spPr>
          <a:xfrm>
            <a:off x="-6324" y="0"/>
            <a:ext cx="4476584" cy="6209148"/>
          </a:xfrm>
          <a:prstGeom prst="rect">
            <a:avLst/>
          </a:prstGeom>
          <a:solidFill>
            <a:srgbClr val="E2F4FF"/>
          </a:solidFill>
          <a:ln w="28575">
            <a:noFill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8" name="Grafik 15">
            <a:extLst>
              <a:ext uri="{FF2B5EF4-FFF2-40B4-BE49-F238E27FC236}">
                <a16:creationId xmlns:a16="http://schemas.microsoft.com/office/drawing/2014/main" id="{BE757963-68E7-A24A-88EC-5420981F7C9B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29" name="Grafik 15">
              <a:extLst>
                <a:ext uri="{FF2B5EF4-FFF2-40B4-BE49-F238E27FC236}">
                  <a16:creationId xmlns:a16="http://schemas.microsoft.com/office/drawing/2014/main" id="{43413FD3-71BF-2C46-BCBA-656AECE2F2C3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E4BFC27C-B84A-C14D-BE4F-07D0B1DC27AC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7579B6B3-35E0-8E4E-95EE-AC6EDEF8AC0A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F50BD780-924F-0145-BB7D-45078C6AE0B3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56B3C952-8282-D34A-9407-B73D84DF08E6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77260ED1-7D74-384F-ACC2-17EBAA7F2E72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0" name="Grafik 15">
              <a:extLst>
                <a:ext uri="{FF2B5EF4-FFF2-40B4-BE49-F238E27FC236}">
                  <a16:creationId xmlns:a16="http://schemas.microsoft.com/office/drawing/2014/main" id="{2B3A75C8-98B3-0F42-B921-1D0E1BA1D76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36" name="Freihandform 35">
                <a:extLst>
                  <a:ext uri="{FF2B5EF4-FFF2-40B4-BE49-F238E27FC236}">
                    <a16:creationId xmlns:a16="http://schemas.microsoft.com/office/drawing/2014/main" id="{6D9C941A-8147-9E44-B184-F189FB158F49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C15E51E7-1BDD-B343-80D9-FD8807A3D119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1" name="Grafik 15">
              <a:extLst>
                <a:ext uri="{FF2B5EF4-FFF2-40B4-BE49-F238E27FC236}">
                  <a16:creationId xmlns:a16="http://schemas.microsoft.com/office/drawing/2014/main" id="{973D5A0E-6357-9D47-B00E-FDE08A2DDF22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8A579800-DFAF-EA48-BEBE-6E126B69E5E4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" name="Freihandform 32">
                <a:extLst>
                  <a:ext uri="{FF2B5EF4-FFF2-40B4-BE49-F238E27FC236}">
                    <a16:creationId xmlns:a16="http://schemas.microsoft.com/office/drawing/2014/main" id="{F1ED0318-7DEB-A343-8205-AA7196658807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4" name="Freihandform 33">
                <a:extLst>
                  <a:ext uri="{FF2B5EF4-FFF2-40B4-BE49-F238E27FC236}">
                    <a16:creationId xmlns:a16="http://schemas.microsoft.com/office/drawing/2014/main" id="{57F6E736-F371-7B4A-9282-C5B72046C0B7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5" name="Freihandform 34">
                <a:extLst>
                  <a:ext uri="{FF2B5EF4-FFF2-40B4-BE49-F238E27FC236}">
                    <a16:creationId xmlns:a16="http://schemas.microsoft.com/office/drawing/2014/main" id="{2C1D06A0-A532-BD43-86E4-DFF6F0AE1FF9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44" name="Titel 1">
            <a:extLst>
              <a:ext uri="{FF2B5EF4-FFF2-40B4-BE49-F238E27FC236}">
                <a16:creationId xmlns:a16="http://schemas.microsoft.com/office/drawing/2014/main" id="{0ABCBE7A-6C4E-F74E-A6E1-33C3EF38FD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58A245-128C-AA40-B1C8-6DF66BB32875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de-DE" spc="-5" dirty="0"/>
              <a:t>Date</a:t>
            </a:r>
          </a:p>
          <a:p>
            <a:pPr marL="12700">
              <a:spcBef>
                <a:spcPts val="100"/>
              </a:spcBef>
            </a:pPr>
            <a:endParaRPr lang="de-DE" spc="-5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95C2B2C-3BE4-4144-8542-77F72F4B96F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D1B3B5-DF2A-3D46-9B32-4FE4265ACA2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26" name="Textplatzhalter 30">
            <a:extLst>
              <a:ext uri="{FF2B5EF4-FFF2-40B4-BE49-F238E27FC236}">
                <a16:creationId xmlns:a16="http://schemas.microsoft.com/office/drawing/2014/main" id="{05B5183A-0CC6-9347-9CDB-C58693DA1C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5" y="1484312"/>
            <a:ext cx="3883654" cy="260762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1600" b="0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Add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43" name="Rechteck: abgerundete Ecken 42">
            <a:extLst>
              <a:ext uri="{FF2B5EF4-FFF2-40B4-BE49-F238E27FC236}">
                <a16:creationId xmlns:a16="http://schemas.microsoft.com/office/drawing/2014/main" id="{6D2C7805-4DE5-417D-983D-3014D72C9F50}"/>
              </a:ext>
            </a:extLst>
          </p:cNvPr>
          <p:cNvSpPr/>
          <p:nvPr userDrawn="1"/>
        </p:nvSpPr>
        <p:spPr>
          <a:xfrm>
            <a:off x="6096000" y="1015999"/>
            <a:ext cx="5724525" cy="4931873"/>
          </a:xfrm>
          <a:prstGeom prst="roundRect">
            <a:avLst>
              <a:gd name="adj" fmla="val 5469"/>
            </a:avLst>
          </a:prstGeom>
          <a:solidFill>
            <a:srgbClr val="FFFFFF">
              <a:alpha val="85098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6" name="Textplatzhalter 30">
            <a:extLst>
              <a:ext uri="{FF2B5EF4-FFF2-40B4-BE49-F238E27FC236}">
                <a16:creationId xmlns:a16="http://schemas.microsoft.com/office/drawing/2014/main" id="{AE619190-C9E3-4134-8FBC-EFE70DF85F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296025" y="1137871"/>
            <a:ext cx="1469110" cy="383873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4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Text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ED6581C6-0503-4EF5-AC18-0F2441D75F8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96025" y="1598611"/>
            <a:ext cx="5154426" cy="394878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/>
            </a:lvl2pPr>
            <a:lvl3pPr marL="171450" indent="0">
              <a:buNone/>
              <a:defRPr/>
            </a:lvl3pPr>
            <a:lvl4pPr marL="400050" indent="0">
              <a:buNone/>
              <a:defRPr/>
            </a:lvl4pPr>
            <a:lvl5pPr marL="579437" indent="0">
              <a:buNone/>
              <a:defRPr/>
            </a:lvl5pPr>
          </a:lstStyle>
          <a:p>
            <a:pPr lvl="0"/>
            <a:r>
              <a:rPr lang="de-DE" dirty="0"/>
              <a:t>Add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D9EEA465-D5B6-4DBF-8B36-65F874BF1E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880" y="213903"/>
            <a:ext cx="1852955" cy="1086681"/>
          </a:xfrm>
          <a:prstGeom prst="rect">
            <a:avLst/>
          </a:prstGeom>
        </p:spPr>
      </p:pic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A856A7A0-AE58-4E61-B909-F49197D0E3F2}"/>
              </a:ext>
            </a:extLst>
          </p:cNvPr>
          <p:cNvGrpSpPr/>
          <p:nvPr userDrawn="1"/>
        </p:nvGrpSpPr>
        <p:grpSpPr>
          <a:xfrm rot="16200000">
            <a:off x="1732812" y="2709313"/>
            <a:ext cx="6255287" cy="780392"/>
            <a:chOff x="22857" y="2292587"/>
            <a:chExt cx="12192002" cy="774064"/>
          </a:xfrm>
        </p:grpSpPr>
        <p:sp>
          <p:nvSpPr>
            <p:cNvPr id="49" name="Dreieck 2">
              <a:extLst>
                <a:ext uri="{FF2B5EF4-FFF2-40B4-BE49-F238E27FC236}">
                  <a16:creationId xmlns:a16="http://schemas.microsoft.com/office/drawing/2014/main" id="{2FA48AD6-6C2E-4E2C-AD50-B2672549E748}"/>
                </a:ext>
              </a:extLst>
            </p:cNvPr>
            <p:cNvSpPr/>
            <p:nvPr/>
          </p:nvSpPr>
          <p:spPr>
            <a:xfrm rot="10800000">
              <a:off x="22857" y="2292588"/>
              <a:ext cx="12192002" cy="774063"/>
            </a:xfrm>
            <a:prstGeom prst="triangle">
              <a:avLst>
                <a:gd name="adj" fmla="val 48359"/>
              </a:avLst>
            </a:prstGeom>
            <a:solidFill>
              <a:srgbClr val="E2F4FF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0DF2AE11-2F35-4049-A0F8-B0840481F701}"/>
                </a:ext>
              </a:extLst>
            </p:cNvPr>
            <p:cNvGrpSpPr/>
            <p:nvPr/>
          </p:nvGrpSpPr>
          <p:grpSpPr>
            <a:xfrm>
              <a:off x="22859" y="2292587"/>
              <a:ext cx="12191998" cy="774060"/>
              <a:chOff x="3394653" y="4304026"/>
              <a:chExt cx="4672261" cy="433631"/>
            </a:xfrm>
          </p:grpSpPr>
          <p:cxnSp>
            <p:nvCxnSpPr>
              <p:cNvPr id="51" name="Straight Connector 128">
                <a:extLst>
                  <a:ext uri="{FF2B5EF4-FFF2-40B4-BE49-F238E27FC236}">
                    <a16:creationId xmlns:a16="http://schemas.microsoft.com/office/drawing/2014/main" id="{A2102524-F890-4F18-9A81-0383277CDE8C}"/>
                  </a:ext>
                </a:extLst>
              </p:cNvPr>
              <p:cNvCxnSpPr>
                <a:cxnSpLocks/>
                <a:endCxn id="49" idx="0"/>
              </p:cNvCxnSpPr>
              <p:nvPr/>
            </p:nvCxnSpPr>
            <p:spPr>
              <a:xfrm>
                <a:off x="3394653" y="4304026"/>
                <a:ext cx="2412802" cy="433631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128">
                <a:extLst>
                  <a:ext uri="{FF2B5EF4-FFF2-40B4-BE49-F238E27FC236}">
                    <a16:creationId xmlns:a16="http://schemas.microsoft.com/office/drawing/2014/main" id="{96527E10-2800-4FA5-A5E1-E8DC0755FD0E}"/>
                  </a:ext>
                </a:extLst>
              </p:cNvPr>
              <p:cNvCxnSpPr>
                <a:cxnSpLocks/>
                <a:stCxn id="49" idx="0"/>
              </p:cNvCxnSpPr>
              <p:nvPr/>
            </p:nvCxnSpPr>
            <p:spPr>
              <a:xfrm flipV="1">
                <a:off x="5807455" y="4304026"/>
                <a:ext cx="2259459" cy="433631"/>
              </a:xfrm>
              <a:prstGeom prst="line">
                <a:avLst/>
              </a:prstGeom>
              <a:ln w="28575" cap="rnd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5" name="Textplatzhalter 9">
            <a:extLst>
              <a:ext uri="{FF2B5EF4-FFF2-40B4-BE49-F238E27FC236}">
                <a16:creationId xmlns:a16="http://schemas.microsoft.com/office/drawing/2014/main" id="{DA2F18B2-0014-438F-B814-41FCAFE80E58}"/>
              </a:ext>
            </a:extLst>
          </p:cNvPr>
          <p:cNvSpPr txBox="1">
            <a:spLocks/>
          </p:cNvSpPr>
          <p:nvPr userDrawn="1"/>
        </p:nvSpPr>
        <p:spPr>
          <a:xfrm>
            <a:off x="364371" y="943713"/>
            <a:ext cx="3890758" cy="369332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4"/>
              </a:buBlip>
              <a:defRPr lang="de-DE" sz="20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23838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0000"/>
              </a:buClr>
              <a:buFontTx/>
              <a:buBlip>
                <a:blip r:embed="rId4"/>
              </a:buBlip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94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Tx/>
              <a:buBlip>
                <a:blip r:embed="rId4"/>
              </a:buBlip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882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</a:t>
            </a:r>
          </a:p>
        </p:txBody>
      </p:sp>
      <p:sp>
        <p:nvSpPr>
          <p:cNvPr id="7" name="Textplatzhalter 30">
            <a:extLst>
              <a:ext uri="{FF2B5EF4-FFF2-40B4-BE49-F238E27FC236}">
                <a16:creationId xmlns:a16="http://schemas.microsoft.com/office/drawing/2014/main" id="{4EE3B0A8-1C82-1D7E-8CC1-7EEF33FEE46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2132" y="945620"/>
            <a:ext cx="3656851" cy="322317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0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28599729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or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Grafik 42" descr="Ein Bild, das Text, Person, Mann, Vorbereiten enthält.&#10;&#10;Automatisch generierte Beschreibung">
            <a:extLst>
              <a:ext uri="{FF2B5EF4-FFF2-40B4-BE49-F238E27FC236}">
                <a16:creationId xmlns:a16="http://schemas.microsoft.com/office/drawing/2014/main" id="{EFAA1C2D-DA2A-4BAD-B28F-A61794C9E1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" t="1003" r="1721" b="584"/>
          <a:stretch/>
        </p:blipFill>
        <p:spPr>
          <a:xfrm>
            <a:off x="0" y="0"/>
            <a:ext cx="12192000" cy="6209147"/>
          </a:xfrm>
          <a:prstGeom prst="rect">
            <a:avLst/>
          </a:prstGeom>
        </p:spPr>
      </p:pic>
      <p:sp>
        <p:nvSpPr>
          <p:cNvPr id="46" name="Rechteck 45">
            <a:extLst>
              <a:ext uri="{FF2B5EF4-FFF2-40B4-BE49-F238E27FC236}">
                <a16:creationId xmlns:a16="http://schemas.microsoft.com/office/drawing/2014/main" id="{C1AF33D2-ACC2-4C4D-A140-4D074FDE8FEB}"/>
              </a:ext>
            </a:extLst>
          </p:cNvPr>
          <p:cNvSpPr/>
          <p:nvPr userDrawn="1"/>
        </p:nvSpPr>
        <p:spPr>
          <a:xfrm>
            <a:off x="383195" y="1486503"/>
            <a:ext cx="6948320" cy="93799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56B20C3A-8ACD-4735-AECC-A9F64C959133}"/>
              </a:ext>
            </a:extLst>
          </p:cNvPr>
          <p:cNvSpPr txBox="1"/>
          <p:nvPr userDrawn="1"/>
        </p:nvSpPr>
        <p:spPr>
          <a:xfrm>
            <a:off x="409562" y="1559643"/>
            <a:ext cx="1215286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1</a:t>
            </a:r>
            <a:endParaRPr kumimoji="0" lang="de-DE" sz="4400" b="0" i="0" u="none" strike="noStrike" kern="1200" cap="none" spc="0" normalizeH="0" baseline="0" noProof="0" dirty="0">
              <a:ln>
                <a:noFill/>
              </a:ln>
              <a:solidFill>
                <a:srgbClr val="003B7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28" name="Grafik 15">
            <a:extLst>
              <a:ext uri="{FF2B5EF4-FFF2-40B4-BE49-F238E27FC236}">
                <a16:creationId xmlns:a16="http://schemas.microsoft.com/office/drawing/2014/main" id="{BE757963-68E7-A24A-88EC-5420981F7C9B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29" name="Grafik 15">
              <a:extLst>
                <a:ext uri="{FF2B5EF4-FFF2-40B4-BE49-F238E27FC236}">
                  <a16:creationId xmlns:a16="http://schemas.microsoft.com/office/drawing/2014/main" id="{43413FD3-71BF-2C46-BCBA-656AECE2F2C3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E4BFC27C-B84A-C14D-BE4F-07D0B1DC27AC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7579B6B3-35E0-8E4E-95EE-AC6EDEF8AC0A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F50BD780-924F-0145-BB7D-45078C6AE0B3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56B3C952-8282-D34A-9407-B73D84DF08E6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77260ED1-7D74-384F-ACC2-17EBAA7F2E72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0" name="Grafik 15">
              <a:extLst>
                <a:ext uri="{FF2B5EF4-FFF2-40B4-BE49-F238E27FC236}">
                  <a16:creationId xmlns:a16="http://schemas.microsoft.com/office/drawing/2014/main" id="{2B3A75C8-98B3-0F42-B921-1D0E1BA1D76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36" name="Freihandform 35">
                <a:extLst>
                  <a:ext uri="{FF2B5EF4-FFF2-40B4-BE49-F238E27FC236}">
                    <a16:creationId xmlns:a16="http://schemas.microsoft.com/office/drawing/2014/main" id="{6D9C941A-8147-9E44-B184-F189FB158F49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C15E51E7-1BDD-B343-80D9-FD8807A3D119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1" name="Grafik 15">
              <a:extLst>
                <a:ext uri="{FF2B5EF4-FFF2-40B4-BE49-F238E27FC236}">
                  <a16:creationId xmlns:a16="http://schemas.microsoft.com/office/drawing/2014/main" id="{973D5A0E-6357-9D47-B00E-FDE08A2DDF22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32" name="Freihandform 31">
                <a:extLst>
                  <a:ext uri="{FF2B5EF4-FFF2-40B4-BE49-F238E27FC236}">
                    <a16:creationId xmlns:a16="http://schemas.microsoft.com/office/drawing/2014/main" id="{8A579800-DFAF-EA48-BEBE-6E126B69E5E4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" name="Freihandform 32">
                <a:extLst>
                  <a:ext uri="{FF2B5EF4-FFF2-40B4-BE49-F238E27FC236}">
                    <a16:creationId xmlns:a16="http://schemas.microsoft.com/office/drawing/2014/main" id="{F1ED0318-7DEB-A343-8205-AA7196658807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4" name="Freihandform 33">
                <a:extLst>
                  <a:ext uri="{FF2B5EF4-FFF2-40B4-BE49-F238E27FC236}">
                    <a16:creationId xmlns:a16="http://schemas.microsoft.com/office/drawing/2014/main" id="{57F6E736-F371-7B4A-9282-C5B72046C0B7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5" name="Freihandform 34">
                <a:extLst>
                  <a:ext uri="{FF2B5EF4-FFF2-40B4-BE49-F238E27FC236}">
                    <a16:creationId xmlns:a16="http://schemas.microsoft.com/office/drawing/2014/main" id="{2C1D06A0-A532-BD43-86E4-DFF6F0AE1FF9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44" name="Titel 1">
            <a:extLst>
              <a:ext uri="{FF2B5EF4-FFF2-40B4-BE49-F238E27FC236}">
                <a16:creationId xmlns:a16="http://schemas.microsoft.com/office/drawing/2014/main" id="{0ABCBE7A-6C4E-F74E-A6E1-33C3EF38FD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58A245-128C-AA40-B1C8-6DF66BB32875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de-DE" spc="-5" dirty="0"/>
              <a:t>Date</a:t>
            </a:r>
          </a:p>
          <a:p>
            <a:pPr marL="12700">
              <a:spcBef>
                <a:spcPts val="100"/>
              </a:spcBef>
            </a:pPr>
            <a:endParaRPr lang="de-DE" spc="-5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95C2B2C-3BE4-4144-8542-77F72F4B96FA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dirty="0"/>
              <a:t>Unrestricted, Restricted, Confidential, Secret</a:t>
            </a:r>
          </a:p>
          <a:p>
            <a:pPr marL="12700">
              <a:spcBef>
                <a:spcPts val="100"/>
              </a:spcBef>
            </a:pP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D1B3B5-DF2A-3D46-9B32-4FE4265ACA2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26" name="Textplatzhalter 30">
            <a:extLst>
              <a:ext uri="{FF2B5EF4-FFF2-40B4-BE49-F238E27FC236}">
                <a16:creationId xmlns:a16="http://schemas.microsoft.com/office/drawing/2014/main" id="{05B5183A-0CC6-9347-9CDB-C58693DA1C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47131" y="1765464"/>
            <a:ext cx="3692210" cy="322317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0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Add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C7C62FF8-4EBD-4822-B097-CFBEDFCA01CC}"/>
              </a:ext>
            </a:extLst>
          </p:cNvPr>
          <p:cNvSpPr/>
          <p:nvPr userDrawn="1"/>
        </p:nvSpPr>
        <p:spPr>
          <a:xfrm>
            <a:off x="383195" y="2510620"/>
            <a:ext cx="6948320" cy="93799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98F99FAD-63E7-420A-8239-94F9EC7C5E03}"/>
              </a:ext>
            </a:extLst>
          </p:cNvPr>
          <p:cNvSpPr txBox="1"/>
          <p:nvPr userDrawn="1"/>
        </p:nvSpPr>
        <p:spPr>
          <a:xfrm>
            <a:off x="409562" y="2583760"/>
            <a:ext cx="1215286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2</a:t>
            </a:r>
            <a:endParaRPr kumimoji="0" lang="de-DE" sz="4400" b="0" i="0" u="none" strike="noStrike" kern="1200" cap="none" spc="0" normalizeH="0" baseline="0" noProof="0" dirty="0">
              <a:ln>
                <a:noFill/>
              </a:ln>
              <a:solidFill>
                <a:srgbClr val="003B7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Textplatzhalter 30">
            <a:extLst>
              <a:ext uri="{FF2B5EF4-FFF2-40B4-BE49-F238E27FC236}">
                <a16:creationId xmlns:a16="http://schemas.microsoft.com/office/drawing/2014/main" id="{39B9C090-7227-47DC-9722-641A3C8DA9E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47131" y="2789581"/>
            <a:ext cx="3692210" cy="322317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0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Add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C180119-8D63-4F0F-A8A7-5895CFC13D76}"/>
              </a:ext>
            </a:extLst>
          </p:cNvPr>
          <p:cNvSpPr/>
          <p:nvPr userDrawn="1"/>
        </p:nvSpPr>
        <p:spPr>
          <a:xfrm>
            <a:off x="383195" y="3534737"/>
            <a:ext cx="6948320" cy="93799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1E1754F7-D991-4A58-B4C7-D2D55CC4196A}"/>
              </a:ext>
            </a:extLst>
          </p:cNvPr>
          <p:cNvSpPr txBox="1"/>
          <p:nvPr userDrawn="1"/>
        </p:nvSpPr>
        <p:spPr>
          <a:xfrm>
            <a:off x="409562" y="3607877"/>
            <a:ext cx="1215286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3</a:t>
            </a:r>
            <a:endParaRPr kumimoji="0" lang="de-DE" sz="4400" b="0" i="0" u="none" strike="noStrike" kern="1200" cap="none" spc="0" normalizeH="0" baseline="0" noProof="0" dirty="0">
              <a:ln>
                <a:noFill/>
              </a:ln>
              <a:solidFill>
                <a:srgbClr val="003B7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Textplatzhalter 30">
            <a:extLst>
              <a:ext uri="{FF2B5EF4-FFF2-40B4-BE49-F238E27FC236}">
                <a16:creationId xmlns:a16="http://schemas.microsoft.com/office/drawing/2014/main" id="{C1FE1BF9-C2BD-407A-8108-F82F4A94214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47131" y="3813698"/>
            <a:ext cx="3692210" cy="322317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0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Add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B456267F-4E9D-4273-9A64-286429AD8C3E}"/>
              </a:ext>
            </a:extLst>
          </p:cNvPr>
          <p:cNvSpPr/>
          <p:nvPr userDrawn="1"/>
        </p:nvSpPr>
        <p:spPr>
          <a:xfrm>
            <a:off x="383195" y="4583688"/>
            <a:ext cx="6948320" cy="93799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BCB8C6CB-719C-4189-892A-CEE3681AE856}"/>
              </a:ext>
            </a:extLst>
          </p:cNvPr>
          <p:cNvSpPr txBox="1"/>
          <p:nvPr userDrawn="1"/>
        </p:nvSpPr>
        <p:spPr>
          <a:xfrm>
            <a:off x="409562" y="4656828"/>
            <a:ext cx="1215286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4400" b="1" i="0" u="none" strike="noStrike" kern="120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#4</a:t>
            </a:r>
            <a:endParaRPr kumimoji="0" lang="de-DE" sz="4400" b="0" i="0" u="none" strike="noStrike" kern="1200" cap="none" spc="0" normalizeH="0" baseline="0" noProof="0" dirty="0">
              <a:ln>
                <a:noFill/>
              </a:ln>
              <a:solidFill>
                <a:srgbClr val="003B7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Textplatzhalter 30">
            <a:extLst>
              <a:ext uri="{FF2B5EF4-FFF2-40B4-BE49-F238E27FC236}">
                <a16:creationId xmlns:a16="http://schemas.microsoft.com/office/drawing/2014/main" id="{CB1835CC-BFAA-47E3-B0DF-EF867F2A2B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747131" y="4862649"/>
            <a:ext cx="3692210" cy="322317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0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Add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77D6DCEE-43C2-4A7A-917B-882D52C196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880" y="213903"/>
            <a:ext cx="1852955" cy="108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8245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ore DIGITAL">
    <p:bg>
      <p:bgPr>
        <a:solidFill>
          <a:srgbClr val="E2F4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Text, Kaffee, computer, Tasse enthält.&#10;&#10;Automatisch generierte Beschreibung">
            <a:extLst>
              <a:ext uri="{FF2B5EF4-FFF2-40B4-BE49-F238E27FC236}">
                <a16:creationId xmlns:a16="http://schemas.microsoft.com/office/drawing/2014/main" id="{E1330E15-7B06-469D-A9BE-9E38A77BC4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072"/>
          <a:stretch/>
        </p:blipFill>
        <p:spPr>
          <a:xfrm>
            <a:off x="2841539" y="0"/>
            <a:ext cx="9350461" cy="6209148"/>
          </a:xfrm>
          <a:prstGeom prst="rect">
            <a:avLst/>
          </a:prstGeom>
        </p:spPr>
      </p:pic>
      <p:sp>
        <p:nvSpPr>
          <p:cNvPr id="100" name="Rechteck 99">
            <a:extLst>
              <a:ext uri="{FF2B5EF4-FFF2-40B4-BE49-F238E27FC236}">
                <a16:creationId xmlns:a16="http://schemas.microsoft.com/office/drawing/2014/main" id="{D19DE813-EF5C-48F3-9BDF-21CD83D7E467}"/>
              </a:ext>
            </a:extLst>
          </p:cNvPr>
          <p:cNvSpPr/>
          <p:nvPr userDrawn="1"/>
        </p:nvSpPr>
        <p:spPr>
          <a:xfrm>
            <a:off x="0" y="6209148"/>
            <a:ext cx="12192000" cy="6488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532CE0-D232-D347-8A08-6E38404C4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dirty="0"/>
              <a:t>Dat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97433D2-8B3D-574E-8759-178E73413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E70C08-DC90-6B4B-AD84-9C40E0D7C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id="{EF197A53-200F-4EDB-83A8-D0B483F02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582758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HEADLINE</a:t>
            </a:r>
          </a:p>
        </p:txBody>
      </p:sp>
      <p:grpSp>
        <p:nvGrpSpPr>
          <p:cNvPr id="101" name="Grafik 15">
            <a:extLst>
              <a:ext uri="{FF2B5EF4-FFF2-40B4-BE49-F238E27FC236}">
                <a16:creationId xmlns:a16="http://schemas.microsoft.com/office/drawing/2014/main" id="{4DC9FFAD-DF05-4E81-8AD3-B75CA568BD21}"/>
              </a:ext>
            </a:extLst>
          </p:cNvPr>
          <p:cNvGrpSpPr/>
          <p:nvPr userDrawn="1"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02" name="Grafik 15">
              <a:extLst>
                <a:ext uri="{FF2B5EF4-FFF2-40B4-BE49-F238E27FC236}">
                  <a16:creationId xmlns:a16="http://schemas.microsoft.com/office/drawing/2014/main" id="{6903F8B0-A9DB-4848-BC89-5F0DFDD9C00E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11" name="Freihandform 37">
                <a:extLst>
                  <a:ext uri="{FF2B5EF4-FFF2-40B4-BE49-F238E27FC236}">
                    <a16:creationId xmlns:a16="http://schemas.microsoft.com/office/drawing/2014/main" id="{DD29F042-D678-4C25-98FB-CD9DF074925B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2" name="Freihandform 38">
                <a:extLst>
                  <a:ext uri="{FF2B5EF4-FFF2-40B4-BE49-F238E27FC236}">
                    <a16:creationId xmlns:a16="http://schemas.microsoft.com/office/drawing/2014/main" id="{5D6CED8C-38E8-4C27-A5C6-73708D921ED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3" name="Freihandform 39">
                <a:extLst>
                  <a:ext uri="{FF2B5EF4-FFF2-40B4-BE49-F238E27FC236}">
                    <a16:creationId xmlns:a16="http://schemas.microsoft.com/office/drawing/2014/main" id="{A87FBBE7-9CC8-495A-BE4E-CB67B94F6DFA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4" name="Freihandform 40">
                <a:extLst>
                  <a:ext uri="{FF2B5EF4-FFF2-40B4-BE49-F238E27FC236}">
                    <a16:creationId xmlns:a16="http://schemas.microsoft.com/office/drawing/2014/main" id="{E7B1B0C4-4A66-435A-B163-95033E4CB892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5" name="Freihandform 41">
                <a:extLst>
                  <a:ext uri="{FF2B5EF4-FFF2-40B4-BE49-F238E27FC236}">
                    <a16:creationId xmlns:a16="http://schemas.microsoft.com/office/drawing/2014/main" id="{9A4C4CEE-F1CB-4687-90AA-DBE2461A5E45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3" name="Grafik 15">
              <a:extLst>
                <a:ext uri="{FF2B5EF4-FFF2-40B4-BE49-F238E27FC236}">
                  <a16:creationId xmlns:a16="http://schemas.microsoft.com/office/drawing/2014/main" id="{F178E431-AE83-475B-AE7C-743A33326819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09" name="Freihandform 35">
                <a:extLst>
                  <a:ext uri="{FF2B5EF4-FFF2-40B4-BE49-F238E27FC236}">
                    <a16:creationId xmlns:a16="http://schemas.microsoft.com/office/drawing/2014/main" id="{1A643BE7-2587-4F23-ACBF-C2BDCE51CF6E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0" name="Freihandform 36">
                <a:extLst>
                  <a:ext uri="{FF2B5EF4-FFF2-40B4-BE49-F238E27FC236}">
                    <a16:creationId xmlns:a16="http://schemas.microsoft.com/office/drawing/2014/main" id="{28FEF01D-2665-497A-A674-A993B557D948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4" name="Grafik 15">
              <a:extLst>
                <a:ext uri="{FF2B5EF4-FFF2-40B4-BE49-F238E27FC236}">
                  <a16:creationId xmlns:a16="http://schemas.microsoft.com/office/drawing/2014/main" id="{0CB1195C-F3E3-459C-9EEB-64DA38E5232D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05" name="Freihandform 31">
                <a:extLst>
                  <a:ext uri="{FF2B5EF4-FFF2-40B4-BE49-F238E27FC236}">
                    <a16:creationId xmlns:a16="http://schemas.microsoft.com/office/drawing/2014/main" id="{4A4BD585-1903-4817-A40B-E8735EB09797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6" name="Freihandform 32">
                <a:extLst>
                  <a:ext uri="{FF2B5EF4-FFF2-40B4-BE49-F238E27FC236}">
                    <a16:creationId xmlns:a16="http://schemas.microsoft.com/office/drawing/2014/main" id="{8A9513FB-171D-4D27-B555-9878BECC02E5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7" name="Freihandform 33">
                <a:extLst>
                  <a:ext uri="{FF2B5EF4-FFF2-40B4-BE49-F238E27FC236}">
                    <a16:creationId xmlns:a16="http://schemas.microsoft.com/office/drawing/2014/main" id="{D936F74A-28F7-4A23-A948-E0F15C3F44CF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8" name="Freihandform 34">
                <a:extLst>
                  <a:ext uri="{FF2B5EF4-FFF2-40B4-BE49-F238E27FC236}">
                    <a16:creationId xmlns:a16="http://schemas.microsoft.com/office/drawing/2014/main" id="{87FF13E2-D672-4F54-905B-AEA70A5FB413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116" name="Holder 2">
            <a:extLst>
              <a:ext uri="{FF2B5EF4-FFF2-40B4-BE49-F238E27FC236}">
                <a16:creationId xmlns:a16="http://schemas.microsoft.com/office/drawing/2014/main" id="{564822C8-A180-4534-94D1-C66851420D05}"/>
              </a:ext>
            </a:extLst>
          </p:cNvPr>
          <p:cNvSpPr txBox="1">
            <a:spLocks/>
          </p:cNvSpPr>
          <p:nvPr userDrawn="1"/>
        </p:nvSpPr>
        <p:spPr>
          <a:xfrm>
            <a:off x="2523939" y="6562797"/>
            <a:ext cx="1014729" cy="133984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rgbClr val="003B7D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de-DE" dirty="0"/>
              <a:t>© METRO</a:t>
            </a:r>
            <a:r>
              <a:rPr lang="de-DE" spc="-70" dirty="0"/>
              <a:t> </a:t>
            </a:r>
            <a:r>
              <a:rPr lang="de-DE" dirty="0"/>
              <a:t>AG.</a:t>
            </a: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7232C497-A8CF-450C-A691-9E3AB946F5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95880" y="213903"/>
            <a:ext cx="1852955" cy="1086681"/>
          </a:xfrm>
          <a:prstGeom prst="rect">
            <a:avLst/>
          </a:prstGeom>
        </p:spPr>
      </p:pic>
      <p:sp>
        <p:nvSpPr>
          <p:cNvPr id="134" name="object 84">
            <a:extLst>
              <a:ext uri="{FF2B5EF4-FFF2-40B4-BE49-F238E27FC236}">
                <a16:creationId xmlns:a16="http://schemas.microsoft.com/office/drawing/2014/main" id="{53E4D386-2C5C-4E59-AFF5-486051D0E71B}"/>
              </a:ext>
            </a:extLst>
          </p:cNvPr>
          <p:cNvSpPr/>
          <p:nvPr userDrawn="1"/>
        </p:nvSpPr>
        <p:spPr>
          <a:xfrm>
            <a:off x="371475" y="6416674"/>
            <a:ext cx="8857983" cy="107722"/>
          </a:xfrm>
          <a:custGeom>
            <a:avLst/>
            <a:gdLst/>
            <a:ahLst/>
            <a:cxnLst/>
            <a:rect l="l" t="t" r="r" b="b"/>
            <a:pathLst>
              <a:path w="9547225">
                <a:moveTo>
                  <a:pt x="0" y="0"/>
                </a:moveTo>
                <a:lnTo>
                  <a:pt x="9547199" y="0"/>
                </a:lnTo>
              </a:path>
            </a:pathLst>
          </a:custGeom>
          <a:ln w="10160">
            <a:solidFill>
              <a:srgbClr val="003B7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ED32FCA0-8B8D-990F-CB43-B8E7173F8739}"/>
              </a:ext>
            </a:extLst>
          </p:cNvPr>
          <p:cNvGrpSpPr/>
          <p:nvPr userDrawn="1"/>
        </p:nvGrpSpPr>
        <p:grpSpPr>
          <a:xfrm>
            <a:off x="328563" y="1870107"/>
            <a:ext cx="4515669" cy="3872543"/>
            <a:chOff x="601718" y="1492728"/>
            <a:chExt cx="4515669" cy="3872543"/>
          </a:xfrm>
        </p:grpSpPr>
        <p:grpSp>
          <p:nvGrpSpPr>
            <p:cNvPr id="90" name="Group 8">
              <a:extLst>
                <a:ext uri="{FF2B5EF4-FFF2-40B4-BE49-F238E27FC236}">
                  <a16:creationId xmlns:a16="http://schemas.microsoft.com/office/drawing/2014/main" id="{8506EDBC-6230-0C8C-A1EF-3C55D9519F0F}"/>
                </a:ext>
              </a:extLst>
            </p:cNvPr>
            <p:cNvGrpSpPr/>
            <p:nvPr userDrawn="1"/>
          </p:nvGrpSpPr>
          <p:grpSpPr>
            <a:xfrm>
              <a:off x="601718" y="1492728"/>
              <a:ext cx="4515669" cy="3851962"/>
              <a:chOff x="3238500" y="2916802"/>
              <a:chExt cx="5714999" cy="4875013"/>
            </a:xfrm>
            <a:solidFill>
              <a:srgbClr val="FFFFFF">
                <a:lumMod val="85000"/>
              </a:srgbClr>
            </a:solidFill>
          </p:grpSpPr>
          <p:sp>
            <p:nvSpPr>
              <p:cNvPr id="125" name="Freihandform: Form 124">
                <a:extLst>
                  <a:ext uri="{FF2B5EF4-FFF2-40B4-BE49-F238E27FC236}">
                    <a16:creationId xmlns:a16="http://schemas.microsoft.com/office/drawing/2014/main" id="{0C83E1E5-F211-F39A-B453-BDA2DF36B015}"/>
                  </a:ext>
                </a:extLst>
              </p:cNvPr>
              <p:cNvSpPr/>
              <p:nvPr userDrawn="1"/>
            </p:nvSpPr>
            <p:spPr>
              <a:xfrm>
                <a:off x="6078587" y="4285828"/>
                <a:ext cx="1726215" cy="1985813"/>
              </a:xfrm>
              <a:custGeom>
                <a:avLst/>
                <a:gdLst>
                  <a:gd name="connsiteX0" fmla="*/ 1137554 w 1726215"/>
                  <a:gd name="connsiteY0" fmla="*/ 0 h 1985813"/>
                  <a:gd name="connsiteX1" fmla="*/ 1654192 w 1726215"/>
                  <a:gd name="connsiteY1" fmla="*/ 78108 h 1985813"/>
                  <a:gd name="connsiteX2" fmla="*/ 1702776 w 1726215"/>
                  <a:gd name="connsiteY2" fmla="*/ 95890 h 1985813"/>
                  <a:gd name="connsiteX3" fmla="*/ 1717245 w 1726215"/>
                  <a:gd name="connsiteY3" fmla="*/ 190700 h 1985813"/>
                  <a:gd name="connsiteX4" fmla="*/ 1726215 w 1726215"/>
                  <a:gd name="connsiteY4" fmla="*/ 368335 h 1985813"/>
                  <a:gd name="connsiteX5" fmla="*/ 665114 w 1726215"/>
                  <a:gd name="connsiteY5" fmla="*/ 1969165 h 1985813"/>
                  <a:gd name="connsiteX6" fmla="*/ 619628 w 1726215"/>
                  <a:gd name="connsiteY6" fmla="*/ 1985813 h 1985813"/>
                  <a:gd name="connsiteX7" fmla="*/ 625664 w 1726215"/>
                  <a:gd name="connsiteY7" fmla="*/ 1946263 h 1985813"/>
                  <a:gd name="connsiteX8" fmla="*/ 634634 w 1726215"/>
                  <a:gd name="connsiteY8" fmla="*/ 1768628 h 1985813"/>
                  <a:gd name="connsiteX9" fmla="*/ 2396 w 1726215"/>
                  <a:gd name="connsiteY9" fmla="*/ 427997 h 1985813"/>
                  <a:gd name="connsiteX10" fmla="*/ 0 w 1726215"/>
                  <a:gd name="connsiteY10" fmla="*/ 426205 h 1985813"/>
                  <a:gd name="connsiteX11" fmla="*/ 32432 w 1726215"/>
                  <a:gd name="connsiteY11" fmla="*/ 396729 h 1985813"/>
                  <a:gd name="connsiteX12" fmla="*/ 1137554 w 1726215"/>
                  <a:gd name="connsiteY12" fmla="*/ 0 h 1985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26215" h="1985813">
                    <a:moveTo>
                      <a:pt x="1137554" y="0"/>
                    </a:moveTo>
                    <a:cubicBezTo>
                      <a:pt x="1317464" y="0"/>
                      <a:pt x="1490986" y="27346"/>
                      <a:pt x="1654192" y="78108"/>
                    </a:cubicBezTo>
                    <a:lnTo>
                      <a:pt x="1702776" y="95890"/>
                    </a:lnTo>
                    <a:lnTo>
                      <a:pt x="1717245" y="190700"/>
                    </a:lnTo>
                    <a:cubicBezTo>
                      <a:pt x="1723177" y="249105"/>
                      <a:pt x="1726215" y="308365"/>
                      <a:pt x="1726215" y="368335"/>
                    </a:cubicBezTo>
                    <a:cubicBezTo>
                      <a:pt x="1726215" y="1087973"/>
                      <a:pt x="1288679" y="1705419"/>
                      <a:pt x="665114" y="1969165"/>
                    </a:cubicBezTo>
                    <a:lnTo>
                      <a:pt x="619628" y="1985813"/>
                    </a:lnTo>
                    <a:lnTo>
                      <a:pt x="625664" y="1946263"/>
                    </a:lnTo>
                    <a:cubicBezTo>
                      <a:pt x="631596" y="1887858"/>
                      <a:pt x="634634" y="1828598"/>
                      <a:pt x="634634" y="1768628"/>
                    </a:cubicBezTo>
                    <a:cubicBezTo>
                      <a:pt x="634634" y="1228900"/>
                      <a:pt x="388520" y="746654"/>
                      <a:pt x="2396" y="427997"/>
                    </a:cubicBezTo>
                    <a:lnTo>
                      <a:pt x="0" y="426205"/>
                    </a:lnTo>
                    <a:lnTo>
                      <a:pt x="32432" y="396729"/>
                    </a:lnTo>
                    <a:cubicBezTo>
                      <a:pt x="332750" y="148884"/>
                      <a:pt x="717766" y="0"/>
                      <a:pt x="1137554" y="0"/>
                    </a:cubicBezTo>
                    <a:close/>
                  </a:path>
                </a:pathLst>
              </a:custGeom>
              <a:grpFill/>
              <a:ln w="28575">
                <a:solidFill>
                  <a:srgbClr val="FFFFFF"/>
                </a:solidFill>
              </a:ln>
              <a:effectLst/>
            </p:spPr>
            <p:txBody>
              <a:bodyPr wrap="square" rtlCol="0" anchor="b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3B7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6" name="Freihandform: Form 125">
                <a:extLst>
                  <a:ext uri="{FF2B5EF4-FFF2-40B4-BE49-F238E27FC236}">
                    <a16:creationId xmlns:a16="http://schemas.microsoft.com/office/drawing/2014/main" id="{5D279B52-6B93-4561-8A6C-4A0438E4D188}"/>
                  </a:ext>
                </a:extLst>
              </p:cNvPr>
              <p:cNvSpPr/>
              <p:nvPr userDrawn="1"/>
            </p:nvSpPr>
            <p:spPr>
              <a:xfrm>
                <a:off x="4330082" y="4317095"/>
                <a:ext cx="1748505" cy="1978538"/>
              </a:xfrm>
              <a:custGeom>
                <a:avLst/>
                <a:gdLst>
                  <a:gd name="connsiteX0" fmla="*/ 645779 w 1748505"/>
                  <a:gd name="connsiteY0" fmla="*/ 0 h 1978538"/>
                  <a:gd name="connsiteX1" fmla="*/ 1617153 w 1748505"/>
                  <a:gd name="connsiteY1" fmla="*/ 296714 h 1978538"/>
                  <a:gd name="connsiteX2" fmla="*/ 1748505 w 1748505"/>
                  <a:gd name="connsiteY2" fmla="*/ 394937 h 1978538"/>
                  <a:gd name="connsiteX3" fmla="*/ 1657560 w 1748505"/>
                  <a:gd name="connsiteY3" fmla="*/ 477593 h 1978538"/>
                  <a:gd name="connsiteX4" fmla="*/ 1148699 w 1748505"/>
                  <a:gd name="connsiteY4" fmla="*/ 1706092 h 1978538"/>
                  <a:gd name="connsiteX5" fmla="*/ 1157669 w 1748505"/>
                  <a:gd name="connsiteY5" fmla="*/ 1883727 h 1978538"/>
                  <a:gd name="connsiteX6" fmla="*/ 1172139 w 1748505"/>
                  <a:gd name="connsiteY6" fmla="*/ 1978538 h 1978538"/>
                  <a:gd name="connsiteX7" fmla="*/ 1061101 w 1748505"/>
                  <a:gd name="connsiteY7" fmla="*/ 1937897 h 1978538"/>
                  <a:gd name="connsiteX8" fmla="*/ 0 w 1748505"/>
                  <a:gd name="connsiteY8" fmla="*/ 337067 h 1978538"/>
                  <a:gd name="connsiteX9" fmla="*/ 8970 w 1748505"/>
                  <a:gd name="connsiteY9" fmla="*/ 159432 h 1978538"/>
                  <a:gd name="connsiteX10" fmla="*/ 15006 w 1748505"/>
                  <a:gd name="connsiteY10" fmla="*/ 119882 h 1978538"/>
                  <a:gd name="connsiteX11" fmla="*/ 129141 w 1748505"/>
                  <a:gd name="connsiteY11" fmla="*/ 78108 h 1978538"/>
                  <a:gd name="connsiteX12" fmla="*/ 645779 w 1748505"/>
                  <a:gd name="connsiteY12" fmla="*/ 0 h 1978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48505" h="1978538">
                    <a:moveTo>
                      <a:pt x="645779" y="0"/>
                    </a:moveTo>
                    <a:cubicBezTo>
                      <a:pt x="1005598" y="0"/>
                      <a:pt x="1339869" y="109384"/>
                      <a:pt x="1617153" y="296714"/>
                    </a:cubicBezTo>
                    <a:lnTo>
                      <a:pt x="1748505" y="394937"/>
                    </a:lnTo>
                    <a:lnTo>
                      <a:pt x="1657560" y="477593"/>
                    </a:lnTo>
                    <a:cubicBezTo>
                      <a:pt x="1343160" y="791994"/>
                      <a:pt x="1148699" y="1226334"/>
                      <a:pt x="1148699" y="1706092"/>
                    </a:cubicBezTo>
                    <a:cubicBezTo>
                      <a:pt x="1148699" y="1766062"/>
                      <a:pt x="1151738" y="1825322"/>
                      <a:pt x="1157669" y="1883727"/>
                    </a:cubicBezTo>
                    <a:lnTo>
                      <a:pt x="1172139" y="1978538"/>
                    </a:lnTo>
                    <a:lnTo>
                      <a:pt x="1061101" y="1937897"/>
                    </a:lnTo>
                    <a:cubicBezTo>
                      <a:pt x="437536" y="1674151"/>
                      <a:pt x="0" y="1056705"/>
                      <a:pt x="0" y="337067"/>
                    </a:cubicBezTo>
                    <a:cubicBezTo>
                      <a:pt x="0" y="277097"/>
                      <a:pt x="3038" y="217837"/>
                      <a:pt x="8970" y="159432"/>
                    </a:cubicBezTo>
                    <a:lnTo>
                      <a:pt x="15006" y="119882"/>
                    </a:lnTo>
                    <a:lnTo>
                      <a:pt x="129141" y="78108"/>
                    </a:lnTo>
                    <a:cubicBezTo>
                      <a:pt x="292347" y="27346"/>
                      <a:pt x="465869" y="0"/>
                      <a:pt x="645779" y="0"/>
                    </a:cubicBezTo>
                    <a:close/>
                  </a:path>
                </a:pathLst>
              </a:custGeom>
              <a:grpFill/>
              <a:ln w="28575">
                <a:solidFill>
                  <a:srgbClr val="FFFFFF"/>
                </a:solidFill>
              </a:ln>
              <a:effectLst/>
            </p:spPr>
            <p:txBody>
              <a:bodyPr wrap="square" rtlCol="0" anchor="b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3B7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7" name="Freihandform: Form 126">
                <a:extLst>
                  <a:ext uri="{FF2B5EF4-FFF2-40B4-BE49-F238E27FC236}">
                    <a16:creationId xmlns:a16="http://schemas.microsoft.com/office/drawing/2014/main" id="{14F98D18-2FF2-D0D8-C71B-E75AC17874F1}"/>
                  </a:ext>
                </a:extLst>
              </p:cNvPr>
              <p:cNvSpPr/>
              <p:nvPr userDrawn="1"/>
            </p:nvSpPr>
            <p:spPr>
              <a:xfrm>
                <a:off x="5502220" y="6271640"/>
                <a:ext cx="1195994" cy="1093970"/>
              </a:xfrm>
              <a:custGeom>
                <a:avLst/>
                <a:gdLst>
                  <a:gd name="connsiteX0" fmla="*/ 1195994 w 1195994"/>
                  <a:gd name="connsiteY0" fmla="*/ 0 h 1093970"/>
                  <a:gd name="connsiteX1" fmla="*/ 1175703 w 1195994"/>
                  <a:gd name="connsiteY1" fmla="*/ 132954 h 1093970"/>
                  <a:gd name="connsiteX2" fmla="*/ 702139 w 1195994"/>
                  <a:gd name="connsiteY2" fmla="*/ 1011314 h 1093970"/>
                  <a:gd name="connsiteX3" fmla="*/ 611194 w 1195994"/>
                  <a:gd name="connsiteY3" fmla="*/ 1093970 h 1093970"/>
                  <a:gd name="connsiteX4" fmla="*/ 608798 w 1195994"/>
                  <a:gd name="connsiteY4" fmla="*/ 1092178 h 1093970"/>
                  <a:gd name="connsiteX5" fmla="*/ 11857 w 1195994"/>
                  <a:gd name="connsiteY5" fmla="*/ 101686 h 1093970"/>
                  <a:gd name="connsiteX6" fmla="*/ 0 w 1195994"/>
                  <a:gd name="connsiteY6" fmla="*/ 23993 h 1093970"/>
                  <a:gd name="connsiteX7" fmla="*/ 48583 w 1195994"/>
                  <a:gd name="connsiteY7" fmla="*/ 41774 h 1093970"/>
                  <a:gd name="connsiteX8" fmla="*/ 565221 w 1195994"/>
                  <a:gd name="connsiteY8" fmla="*/ 119882 h 1093970"/>
                  <a:gd name="connsiteX9" fmla="*/ 1081859 w 1195994"/>
                  <a:gd name="connsiteY9" fmla="*/ 41774 h 1093970"/>
                  <a:gd name="connsiteX10" fmla="*/ 1195994 w 1195994"/>
                  <a:gd name="connsiteY10" fmla="*/ 0 h 1093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5994" h="1093970">
                    <a:moveTo>
                      <a:pt x="1195994" y="0"/>
                    </a:moveTo>
                    <a:lnTo>
                      <a:pt x="1175703" y="132954"/>
                    </a:lnTo>
                    <a:cubicBezTo>
                      <a:pt x="1106274" y="472248"/>
                      <a:pt x="937939" y="775514"/>
                      <a:pt x="702139" y="1011314"/>
                    </a:cubicBezTo>
                    <a:lnTo>
                      <a:pt x="611194" y="1093970"/>
                    </a:lnTo>
                    <a:lnTo>
                      <a:pt x="608798" y="1092178"/>
                    </a:lnTo>
                    <a:cubicBezTo>
                      <a:pt x="308480" y="844334"/>
                      <a:pt x="92858" y="497528"/>
                      <a:pt x="11857" y="101686"/>
                    </a:cubicBezTo>
                    <a:lnTo>
                      <a:pt x="0" y="23993"/>
                    </a:lnTo>
                    <a:lnTo>
                      <a:pt x="48583" y="41774"/>
                    </a:lnTo>
                    <a:cubicBezTo>
                      <a:pt x="211789" y="92536"/>
                      <a:pt x="385312" y="119882"/>
                      <a:pt x="565221" y="119882"/>
                    </a:cubicBezTo>
                    <a:cubicBezTo>
                      <a:pt x="745131" y="119882"/>
                      <a:pt x="918653" y="92536"/>
                      <a:pt x="1081859" y="41774"/>
                    </a:cubicBezTo>
                    <a:lnTo>
                      <a:pt x="1195994" y="0"/>
                    </a:lnTo>
                    <a:close/>
                  </a:path>
                </a:pathLst>
              </a:custGeom>
              <a:grpFill/>
              <a:ln w="28575">
                <a:solidFill>
                  <a:srgbClr val="FFFFFF"/>
                </a:solidFill>
              </a:ln>
              <a:effectLst/>
            </p:spPr>
            <p:txBody>
              <a:bodyPr wrap="square" rtlCol="0" anchor="b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3B7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8" name="Freihandform: Form 127">
                <a:extLst>
                  <a:ext uri="{FF2B5EF4-FFF2-40B4-BE49-F238E27FC236}">
                    <a16:creationId xmlns:a16="http://schemas.microsoft.com/office/drawing/2014/main" id="{56F44D9A-3301-BE6F-7D1F-B701D62F11A6}"/>
                  </a:ext>
                </a:extLst>
              </p:cNvPr>
              <p:cNvSpPr/>
              <p:nvPr userDrawn="1"/>
            </p:nvSpPr>
            <p:spPr>
              <a:xfrm>
                <a:off x="4345088" y="2916802"/>
                <a:ext cx="3436275" cy="1795230"/>
              </a:xfrm>
              <a:custGeom>
                <a:avLst/>
                <a:gdLst>
                  <a:gd name="connsiteX0" fmla="*/ 1722354 w 3436275"/>
                  <a:gd name="connsiteY0" fmla="*/ 0 h 1795230"/>
                  <a:gd name="connsiteX1" fmla="*/ 3424417 w 3436275"/>
                  <a:gd name="connsiteY1" fmla="*/ 1387221 h 1795230"/>
                  <a:gd name="connsiteX2" fmla="*/ 3436275 w 3436275"/>
                  <a:gd name="connsiteY2" fmla="*/ 1464915 h 1795230"/>
                  <a:gd name="connsiteX3" fmla="*/ 3387691 w 3436275"/>
                  <a:gd name="connsiteY3" fmla="*/ 1447133 h 1795230"/>
                  <a:gd name="connsiteX4" fmla="*/ 2871053 w 3436275"/>
                  <a:gd name="connsiteY4" fmla="*/ 1369025 h 1795230"/>
                  <a:gd name="connsiteX5" fmla="*/ 1765931 w 3436275"/>
                  <a:gd name="connsiteY5" fmla="*/ 1765754 h 1795230"/>
                  <a:gd name="connsiteX6" fmla="*/ 1733499 w 3436275"/>
                  <a:gd name="connsiteY6" fmla="*/ 1795230 h 1795230"/>
                  <a:gd name="connsiteX7" fmla="*/ 1602147 w 3436275"/>
                  <a:gd name="connsiteY7" fmla="*/ 1697007 h 1795230"/>
                  <a:gd name="connsiteX8" fmla="*/ 630773 w 3436275"/>
                  <a:gd name="connsiteY8" fmla="*/ 1400293 h 1795230"/>
                  <a:gd name="connsiteX9" fmla="*/ 114135 w 3436275"/>
                  <a:gd name="connsiteY9" fmla="*/ 1478401 h 1795230"/>
                  <a:gd name="connsiteX10" fmla="*/ 0 w 3436275"/>
                  <a:gd name="connsiteY10" fmla="*/ 1520175 h 1795230"/>
                  <a:gd name="connsiteX11" fmla="*/ 20291 w 3436275"/>
                  <a:gd name="connsiteY11" fmla="*/ 1387221 h 1795230"/>
                  <a:gd name="connsiteX12" fmla="*/ 1722354 w 3436275"/>
                  <a:gd name="connsiteY12" fmla="*/ 0 h 1795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436275" h="1795230">
                    <a:moveTo>
                      <a:pt x="1722354" y="0"/>
                    </a:moveTo>
                    <a:cubicBezTo>
                      <a:pt x="2561932" y="0"/>
                      <a:pt x="3262415" y="595536"/>
                      <a:pt x="3424417" y="1387221"/>
                    </a:cubicBezTo>
                    <a:lnTo>
                      <a:pt x="3436275" y="1464915"/>
                    </a:lnTo>
                    <a:lnTo>
                      <a:pt x="3387691" y="1447133"/>
                    </a:lnTo>
                    <a:cubicBezTo>
                      <a:pt x="3224485" y="1396371"/>
                      <a:pt x="3050963" y="1369025"/>
                      <a:pt x="2871053" y="1369025"/>
                    </a:cubicBezTo>
                    <a:cubicBezTo>
                      <a:pt x="2451265" y="1369025"/>
                      <a:pt x="2066249" y="1517909"/>
                      <a:pt x="1765931" y="1765754"/>
                    </a:cubicBezTo>
                    <a:lnTo>
                      <a:pt x="1733499" y="1795230"/>
                    </a:lnTo>
                    <a:lnTo>
                      <a:pt x="1602147" y="1697007"/>
                    </a:lnTo>
                    <a:cubicBezTo>
                      <a:pt x="1324863" y="1509677"/>
                      <a:pt x="990592" y="1400293"/>
                      <a:pt x="630773" y="1400293"/>
                    </a:cubicBezTo>
                    <a:cubicBezTo>
                      <a:pt x="450863" y="1400293"/>
                      <a:pt x="277341" y="1427639"/>
                      <a:pt x="114135" y="1478401"/>
                    </a:cubicBezTo>
                    <a:lnTo>
                      <a:pt x="0" y="1520175"/>
                    </a:lnTo>
                    <a:lnTo>
                      <a:pt x="20291" y="1387221"/>
                    </a:lnTo>
                    <a:cubicBezTo>
                      <a:pt x="182293" y="595536"/>
                      <a:pt x="882776" y="0"/>
                      <a:pt x="1722354" y="0"/>
                    </a:cubicBezTo>
                    <a:close/>
                  </a:path>
                </a:pathLst>
              </a:custGeom>
              <a:grpFill/>
              <a:ln w="28575">
                <a:solidFill>
                  <a:srgbClr val="FFFFFF"/>
                </a:solidFill>
              </a:ln>
              <a:effectLst/>
            </p:spPr>
            <p:txBody>
              <a:bodyPr rtlCol="0" anchor="t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3B7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9" name="Freihandform: Form 128">
                <a:extLst>
                  <a:ext uri="{FF2B5EF4-FFF2-40B4-BE49-F238E27FC236}">
                    <a16:creationId xmlns:a16="http://schemas.microsoft.com/office/drawing/2014/main" id="{C529B599-13FF-2653-182A-555F5A3307A9}"/>
                  </a:ext>
                </a:extLst>
              </p:cNvPr>
              <p:cNvSpPr/>
              <p:nvPr userDrawn="1"/>
            </p:nvSpPr>
            <p:spPr>
              <a:xfrm>
                <a:off x="6113414" y="4381717"/>
                <a:ext cx="2840085" cy="3378830"/>
              </a:xfrm>
              <a:custGeom>
                <a:avLst/>
                <a:gdLst>
                  <a:gd name="connsiteX0" fmla="*/ 1667948 w 2840086"/>
                  <a:gd name="connsiteY0" fmla="*/ 0 h 3378830"/>
                  <a:gd name="connsiteX1" fmla="*/ 1778985 w 2840086"/>
                  <a:gd name="connsiteY1" fmla="*/ 40640 h 3378830"/>
                  <a:gd name="connsiteX2" fmla="*/ 2840086 w 2840086"/>
                  <a:gd name="connsiteY2" fmla="*/ 1641470 h 3378830"/>
                  <a:gd name="connsiteX3" fmla="*/ 1102726 w 2840086"/>
                  <a:gd name="connsiteY3" fmla="*/ 3378830 h 3378830"/>
                  <a:gd name="connsiteX4" fmla="*/ 131352 w 2840086"/>
                  <a:gd name="connsiteY4" fmla="*/ 3082116 h 3378830"/>
                  <a:gd name="connsiteX5" fmla="*/ 0 w 2840086"/>
                  <a:gd name="connsiteY5" fmla="*/ 2983893 h 3378830"/>
                  <a:gd name="connsiteX6" fmla="*/ 90945 w 2840086"/>
                  <a:gd name="connsiteY6" fmla="*/ 2901237 h 3378830"/>
                  <a:gd name="connsiteX7" fmla="*/ 564509 w 2840086"/>
                  <a:gd name="connsiteY7" fmla="*/ 2022877 h 3378830"/>
                  <a:gd name="connsiteX8" fmla="*/ 584800 w 2840086"/>
                  <a:gd name="connsiteY8" fmla="*/ 1889923 h 3378830"/>
                  <a:gd name="connsiteX9" fmla="*/ 630286 w 2840086"/>
                  <a:gd name="connsiteY9" fmla="*/ 1873275 h 3378830"/>
                  <a:gd name="connsiteX10" fmla="*/ 1691387 w 2840086"/>
                  <a:gd name="connsiteY10" fmla="*/ 272445 h 3378830"/>
                  <a:gd name="connsiteX11" fmla="*/ 1682417 w 2840086"/>
                  <a:gd name="connsiteY11" fmla="*/ 94810 h 3378830"/>
                  <a:gd name="connsiteX12" fmla="*/ 1667948 w 2840086"/>
                  <a:gd name="connsiteY12" fmla="*/ 0 h 3378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40086" h="3378830">
                    <a:moveTo>
                      <a:pt x="1667948" y="0"/>
                    </a:moveTo>
                    <a:lnTo>
                      <a:pt x="1778985" y="40640"/>
                    </a:lnTo>
                    <a:cubicBezTo>
                      <a:pt x="2402549" y="304386"/>
                      <a:pt x="2840086" y="921832"/>
                      <a:pt x="2840086" y="1641470"/>
                    </a:cubicBezTo>
                    <a:cubicBezTo>
                      <a:pt x="2840086" y="2600987"/>
                      <a:pt x="2062243" y="3378830"/>
                      <a:pt x="1102726" y="3378830"/>
                    </a:cubicBezTo>
                    <a:cubicBezTo>
                      <a:pt x="742907" y="3378830"/>
                      <a:pt x="408636" y="3269446"/>
                      <a:pt x="131352" y="3082116"/>
                    </a:cubicBezTo>
                    <a:lnTo>
                      <a:pt x="0" y="2983893"/>
                    </a:lnTo>
                    <a:lnTo>
                      <a:pt x="90945" y="2901237"/>
                    </a:lnTo>
                    <a:cubicBezTo>
                      <a:pt x="326745" y="2665437"/>
                      <a:pt x="495080" y="2362171"/>
                      <a:pt x="564509" y="2022877"/>
                    </a:cubicBezTo>
                    <a:lnTo>
                      <a:pt x="584800" y="1889923"/>
                    </a:lnTo>
                    <a:lnTo>
                      <a:pt x="630286" y="1873275"/>
                    </a:lnTo>
                    <a:cubicBezTo>
                      <a:pt x="1253851" y="1609529"/>
                      <a:pt x="1691387" y="992083"/>
                      <a:pt x="1691387" y="272445"/>
                    </a:cubicBezTo>
                    <a:cubicBezTo>
                      <a:pt x="1691387" y="212475"/>
                      <a:pt x="1688349" y="153215"/>
                      <a:pt x="1682417" y="94810"/>
                    </a:cubicBezTo>
                    <a:lnTo>
                      <a:pt x="1667948" y="0"/>
                    </a:lnTo>
                    <a:close/>
                  </a:path>
                </a:pathLst>
              </a:custGeom>
              <a:solidFill>
                <a:srgbClr val="DADADA"/>
              </a:solidFill>
              <a:ln w="28575">
                <a:solidFill>
                  <a:srgbClr val="FFFFFF"/>
                </a:solidFill>
              </a:ln>
              <a:effectLst/>
            </p:spPr>
            <p:txBody>
              <a:bodyPr rtlCol="0" anchor="b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3B7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0" name="Freihandform: Form 129">
                <a:extLst>
                  <a:ext uri="{FF2B5EF4-FFF2-40B4-BE49-F238E27FC236}">
                    <a16:creationId xmlns:a16="http://schemas.microsoft.com/office/drawing/2014/main" id="{AA9530E4-6F92-6AE0-8443-DD2A7168370F}"/>
                  </a:ext>
                </a:extLst>
              </p:cNvPr>
              <p:cNvSpPr/>
              <p:nvPr userDrawn="1"/>
            </p:nvSpPr>
            <p:spPr>
              <a:xfrm>
                <a:off x="3238500" y="4436977"/>
                <a:ext cx="2874914" cy="3354838"/>
              </a:xfrm>
              <a:custGeom>
                <a:avLst/>
                <a:gdLst>
                  <a:gd name="connsiteX0" fmla="*/ 1106587 w 2874914"/>
                  <a:gd name="connsiteY0" fmla="*/ 0 h 3354838"/>
                  <a:gd name="connsiteX1" fmla="*/ 1100551 w 2874914"/>
                  <a:gd name="connsiteY1" fmla="*/ 39550 h 3354838"/>
                  <a:gd name="connsiteX2" fmla="*/ 1091581 w 2874914"/>
                  <a:gd name="connsiteY2" fmla="*/ 217185 h 3354838"/>
                  <a:gd name="connsiteX3" fmla="*/ 2152682 w 2874914"/>
                  <a:gd name="connsiteY3" fmla="*/ 1818015 h 3354838"/>
                  <a:gd name="connsiteX4" fmla="*/ 2263720 w 2874914"/>
                  <a:gd name="connsiteY4" fmla="*/ 1858656 h 3354838"/>
                  <a:gd name="connsiteX5" fmla="*/ 2275577 w 2874914"/>
                  <a:gd name="connsiteY5" fmla="*/ 1936349 h 3354838"/>
                  <a:gd name="connsiteX6" fmla="*/ 2872518 w 2874914"/>
                  <a:gd name="connsiteY6" fmla="*/ 2926841 h 3354838"/>
                  <a:gd name="connsiteX7" fmla="*/ 2874914 w 2874914"/>
                  <a:gd name="connsiteY7" fmla="*/ 2928633 h 3354838"/>
                  <a:gd name="connsiteX8" fmla="*/ 2842482 w 2874914"/>
                  <a:gd name="connsiteY8" fmla="*/ 2958109 h 3354838"/>
                  <a:gd name="connsiteX9" fmla="*/ 1737360 w 2874914"/>
                  <a:gd name="connsiteY9" fmla="*/ 3354838 h 3354838"/>
                  <a:gd name="connsiteX10" fmla="*/ 0 w 2874914"/>
                  <a:gd name="connsiteY10" fmla="*/ 1617478 h 3354838"/>
                  <a:gd name="connsiteX11" fmla="*/ 1061101 w 2874914"/>
                  <a:gd name="connsiteY11" fmla="*/ 16648 h 3354838"/>
                  <a:gd name="connsiteX12" fmla="*/ 1106587 w 2874914"/>
                  <a:gd name="connsiteY12" fmla="*/ 0 h 33548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74914" h="3354838">
                    <a:moveTo>
                      <a:pt x="1106587" y="0"/>
                    </a:moveTo>
                    <a:lnTo>
                      <a:pt x="1100551" y="39550"/>
                    </a:lnTo>
                    <a:cubicBezTo>
                      <a:pt x="1094619" y="97955"/>
                      <a:pt x="1091581" y="157215"/>
                      <a:pt x="1091581" y="217185"/>
                    </a:cubicBezTo>
                    <a:cubicBezTo>
                      <a:pt x="1091581" y="936823"/>
                      <a:pt x="1529117" y="1554269"/>
                      <a:pt x="2152682" y="1818015"/>
                    </a:cubicBezTo>
                    <a:lnTo>
                      <a:pt x="2263720" y="1858656"/>
                    </a:lnTo>
                    <a:lnTo>
                      <a:pt x="2275577" y="1936349"/>
                    </a:lnTo>
                    <a:cubicBezTo>
                      <a:pt x="2356578" y="2332191"/>
                      <a:pt x="2572200" y="2678997"/>
                      <a:pt x="2872518" y="2926841"/>
                    </a:cubicBezTo>
                    <a:lnTo>
                      <a:pt x="2874914" y="2928633"/>
                    </a:lnTo>
                    <a:lnTo>
                      <a:pt x="2842482" y="2958109"/>
                    </a:lnTo>
                    <a:cubicBezTo>
                      <a:pt x="2542164" y="3205954"/>
                      <a:pt x="2157148" y="3354838"/>
                      <a:pt x="1737360" y="3354838"/>
                    </a:cubicBezTo>
                    <a:cubicBezTo>
                      <a:pt x="777843" y="3354838"/>
                      <a:pt x="0" y="2576995"/>
                      <a:pt x="0" y="1617478"/>
                    </a:cubicBezTo>
                    <a:cubicBezTo>
                      <a:pt x="0" y="897840"/>
                      <a:pt x="437537" y="280394"/>
                      <a:pt x="1061101" y="16648"/>
                    </a:cubicBezTo>
                    <a:lnTo>
                      <a:pt x="1106587" y="0"/>
                    </a:lnTo>
                    <a:close/>
                  </a:path>
                </a:pathLst>
              </a:custGeom>
              <a:grpFill/>
              <a:ln w="28575">
                <a:solidFill>
                  <a:srgbClr val="FFFFFF"/>
                </a:solidFill>
              </a:ln>
              <a:effectLst/>
            </p:spPr>
            <p:txBody>
              <a:bodyPr rtlCol="0" anchor="t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3B7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31" name="Freihandform: Form 130">
                <a:extLst>
                  <a:ext uri="{FF2B5EF4-FFF2-40B4-BE49-F238E27FC236}">
                    <a16:creationId xmlns:a16="http://schemas.microsoft.com/office/drawing/2014/main" id="{60CF37A5-6381-1778-1727-8B626B017757}"/>
                  </a:ext>
                </a:extLst>
              </p:cNvPr>
              <p:cNvSpPr/>
              <p:nvPr userDrawn="1"/>
            </p:nvSpPr>
            <p:spPr>
              <a:xfrm>
                <a:off x="5478780" y="4712032"/>
                <a:ext cx="1234440" cy="1679490"/>
              </a:xfrm>
              <a:custGeom>
                <a:avLst/>
                <a:gdLst>
                  <a:gd name="connsiteX0" fmla="*/ 599806 w 1234440"/>
                  <a:gd name="connsiteY0" fmla="*/ 0 h 1679490"/>
                  <a:gd name="connsiteX1" fmla="*/ 602202 w 1234440"/>
                  <a:gd name="connsiteY1" fmla="*/ 1792 h 1679490"/>
                  <a:gd name="connsiteX2" fmla="*/ 1234440 w 1234440"/>
                  <a:gd name="connsiteY2" fmla="*/ 1342423 h 1679490"/>
                  <a:gd name="connsiteX3" fmla="*/ 1225470 w 1234440"/>
                  <a:gd name="connsiteY3" fmla="*/ 1520058 h 1679490"/>
                  <a:gd name="connsiteX4" fmla="*/ 1219434 w 1234440"/>
                  <a:gd name="connsiteY4" fmla="*/ 1559608 h 1679490"/>
                  <a:gd name="connsiteX5" fmla="*/ 1105299 w 1234440"/>
                  <a:gd name="connsiteY5" fmla="*/ 1601382 h 1679490"/>
                  <a:gd name="connsiteX6" fmla="*/ 588661 w 1234440"/>
                  <a:gd name="connsiteY6" fmla="*/ 1679490 h 1679490"/>
                  <a:gd name="connsiteX7" fmla="*/ 72023 w 1234440"/>
                  <a:gd name="connsiteY7" fmla="*/ 1601382 h 1679490"/>
                  <a:gd name="connsiteX8" fmla="*/ 23440 w 1234440"/>
                  <a:gd name="connsiteY8" fmla="*/ 1583601 h 1679490"/>
                  <a:gd name="connsiteX9" fmla="*/ 8970 w 1234440"/>
                  <a:gd name="connsiteY9" fmla="*/ 1488790 h 1679490"/>
                  <a:gd name="connsiteX10" fmla="*/ 0 w 1234440"/>
                  <a:gd name="connsiteY10" fmla="*/ 1311155 h 1679490"/>
                  <a:gd name="connsiteX11" fmla="*/ 508861 w 1234440"/>
                  <a:gd name="connsiteY11" fmla="*/ 82656 h 1679490"/>
                  <a:gd name="connsiteX12" fmla="*/ 599806 w 1234440"/>
                  <a:gd name="connsiteY12" fmla="*/ 0 h 1679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34440" h="1679490">
                    <a:moveTo>
                      <a:pt x="599806" y="0"/>
                    </a:moveTo>
                    <a:lnTo>
                      <a:pt x="602202" y="1792"/>
                    </a:lnTo>
                    <a:cubicBezTo>
                      <a:pt x="988326" y="320449"/>
                      <a:pt x="1234440" y="802695"/>
                      <a:pt x="1234440" y="1342423"/>
                    </a:cubicBezTo>
                    <a:cubicBezTo>
                      <a:pt x="1234440" y="1402393"/>
                      <a:pt x="1231402" y="1461653"/>
                      <a:pt x="1225470" y="1520058"/>
                    </a:cubicBezTo>
                    <a:lnTo>
                      <a:pt x="1219434" y="1559608"/>
                    </a:lnTo>
                    <a:lnTo>
                      <a:pt x="1105299" y="1601382"/>
                    </a:lnTo>
                    <a:cubicBezTo>
                      <a:pt x="942093" y="1652144"/>
                      <a:pt x="768571" y="1679490"/>
                      <a:pt x="588661" y="1679490"/>
                    </a:cubicBezTo>
                    <a:cubicBezTo>
                      <a:pt x="408752" y="1679490"/>
                      <a:pt x="235229" y="1652144"/>
                      <a:pt x="72023" y="1601382"/>
                    </a:cubicBezTo>
                    <a:lnTo>
                      <a:pt x="23440" y="1583601"/>
                    </a:lnTo>
                    <a:lnTo>
                      <a:pt x="8970" y="1488790"/>
                    </a:lnTo>
                    <a:cubicBezTo>
                      <a:pt x="3039" y="1430385"/>
                      <a:pt x="0" y="1371125"/>
                      <a:pt x="0" y="1311155"/>
                    </a:cubicBezTo>
                    <a:cubicBezTo>
                      <a:pt x="0" y="831397"/>
                      <a:pt x="194461" y="397057"/>
                      <a:pt x="508861" y="82656"/>
                    </a:cubicBezTo>
                    <a:lnTo>
                      <a:pt x="599806" y="0"/>
                    </a:lnTo>
                    <a:close/>
                  </a:path>
                </a:pathLst>
              </a:custGeom>
              <a:solidFill>
                <a:srgbClr val="0089E3"/>
              </a:solidFill>
              <a:ln w="28575">
                <a:solidFill>
                  <a:srgbClr val="FFFFFF"/>
                </a:solidFill>
              </a:ln>
              <a:effectLst/>
            </p:spPr>
            <p:txBody>
              <a:bodyPr wrap="square" rtlCol="0" anchor="b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3B7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91" name="Rectangle 76">
              <a:extLst>
                <a:ext uri="{FF2B5EF4-FFF2-40B4-BE49-F238E27FC236}">
                  <a16:creationId xmlns:a16="http://schemas.microsoft.com/office/drawing/2014/main" id="{A3344E76-4748-B668-D92C-D551FC7350A6}"/>
                </a:ext>
              </a:extLst>
            </p:cNvPr>
            <p:cNvSpPr/>
            <p:nvPr userDrawn="1"/>
          </p:nvSpPr>
          <p:spPr>
            <a:xfrm rot="3739781">
              <a:off x="2265213" y="2707045"/>
              <a:ext cx="2745529" cy="2570923"/>
            </a:xfrm>
            <a:prstGeom prst="rect">
              <a:avLst/>
            </a:prstGeom>
            <a:noFill/>
          </p:spPr>
          <p:txBody>
            <a:bodyPr spcFirstLastPara="1" wrap="none" lIns="91440" tIns="45720" rIns="91440" bIns="45720" numCol="1">
              <a:prstTxWarp prst="textArchUp">
                <a:avLst>
                  <a:gd name="adj" fmla="val 9987508"/>
                </a:avLst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 w="0"/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ELIVERY</a:t>
              </a:r>
            </a:p>
          </p:txBody>
        </p:sp>
        <p:sp>
          <p:nvSpPr>
            <p:cNvPr id="92" name="TextBox 61">
              <a:extLst>
                <a:ext uri="{FF2B5EF4-FFF2-40B4-BE49-F238E27FC236}">
                  <a16:creationId xmlns:a16="http://schemas.microsoft.com/office/drawing/2014/main" id="{F2317DBF-998A-8FDF-09FD-F96294BC00C9}"/>
                </a:ext>
              </a:extLst>
            </p:cNvPr>
            <p:cNvSpPr txBox="1"/>
            <p:nvPr userDrawn="1"/>
          </p:nvSpPr>
          <p:spPr>
            <a:xfrm>
              <a:off x="807439" y="3939521"/>
              <a:ext cx="1477662" cy="41379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ROß-</a:t>
              </a:r>
              <a:br>
                <a:rPr kumimoji="0" lang="de-DE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</a:br>
              <a:r>
                <a:rPr kumimoji="0" lang="de-DE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HANDELSMÄRKTE</a:t>
              </a:r>
            </a:p>
          </p:txBody>
        </p:sp>
        <p:pic>
          <p:nvPicPr>
            <p:cNvPr id="93" name="Picture 63">
              <a:extLst>
                <a:ext uri="{FF2B5EF4-FFF2-40B4-BE49-F238E27FC236}">
                  <a16:creationId xmlns:a16="http://schemas.microsoft.com/office/drawing/2014/main" id="{C60A86B5-DEA0-182F-E838-61E4E58886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508173" y="1884086"/>
              <a:ext cx="759091" cy="462056"/>
            </a:xfrm>
            <a:prstGeom prst="rect">
              <a:avLst/>
            </a:prstGeom>
          </p:spPr>
        </p:pic>
        <p:sp>
          <p:nvSpPr>
            <p:cNvPr id="94" name="TextBox 64">
              <a:extLst>
                <a:ext uri="{FF2B5EF4-FFF2-40B4-BE49-F238E27FC236}">
                  <a16:creationId xmlns:a16="http://schemas.microsoft.com/office/drawing/2014/main" id="{4699D75C-ECFC-172D-32DD-1C299640B5EE}"/>
                </a:ext>
              </a:extLst>
            </p:cNvPr>
            <p:cNvSpPr txBox="1"/>
            <p:nvPr userDrawn="1"/>
          </p:nvSpPr>
          <p:spPr>
            <a:xfrm>
              <a:off x="2441978" y="4333211"/>
              <a:ext cx="833871" cy="35360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0" cap="none" spc="-3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OUT-OF-STORE</a:t>
              </a:r>
            </a:p>
          </p:txBody>
        </p:sp>
        <p:grpSp>
          <p:nvGrpSpPr>
            <p:cNvPr id="95" name="Group 67">
              <a:extLst>
                <a:ext uri="{FF2B5EF4-FFF2-40B4-BE49-F238E27FC236}">
                  <a16:creationId xmlns:a16="http://schemas.microsoft.com/office/drawing/2014/main" id="{50DDE3E1-B926-41DF-3F14-A1B38484DDBF}"/>
                </a:ext>
              </a:extLst>
            </p:cNvPr>
            <p:cNvGrpSpPr/>
            <p:nvPr userDrawn="1"/>
          </p:nvGrpSpPr>
          <p:grpSpPr>
            <a:xfrm>
              <a:off x="3539511" y="4401359"/>
              <a:ext cx="868389" cy="471987"/>
              <a:chOff x="6884891" y="3283261"/>
              <a:chExt cx="857225" cy="460141"/>
            </a:xfrm>
            <a:solidFill>
              <a:srgbClr val="FFFFFF"/>
            </a:solidFill>
          </p:grpSpPr>
          <p:sp>
            <p:nvSpPr>
              <p:cNvPr id="120" name="Freihandform: Form 119">
                <a:extLst>
                  <a:ext uri="{FF2B5EF4-FFF2-40B4-BE49-F238E27FC236}">
                    <a16:creationId xmlns:a16="http://schemas.microsoft.com/office/drawing/2014/main" id="{ABD3E56F-E949-E659-81F9-3313040D94A7}"/>
                  </a:ext>
                </a:extLst>
              </p:cNvPr>
              <p:cNvSpPr/>
              <p:nvPr userDrawn="1"/>
            </p:nvSpPr>
            <p:spPr>
              <a:xfrm rot="19078378">
                <a:off x="7034394" y="3623216"/>
                <a:ext cx="147961" cy="120186"/>
              </a:xfrm>
              <a:custGeom>
                <a:avLst/>
                <a:gdLst>
                  <a:gd name="connsiteX0" fmla="*/ 147961 w 147961"/>
                  <a:gd name="connsiteY0" fmla="*/ 60093 h 120186"/>
                  <a:gd name="connsiteX1" fmla="*/ 73981 w 147961"/>
                  <a:gd name="connsiteY1" fmla="*/ 120186 h 120186"/>
                  <a:gd name="connsiteX2" fmla="*/ 0 w 147961"/>
                  <a:gd name="connsiteY2" fmla="*/ 60093 h 120186"/>
                  <a:gd name="connsiteX3" fmla="*/ 73981 w 147961"/>
                  <a:gd name="connsiteY3" fmla="*/ 0 h 120186"/>
                  <a:gd name="connsiteX4" fmla="*/ 147961 w 147961"/>
                  <a:gd name="connsiteY4" fmla="*/ 60093 h 120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961" h="120186">
                    <a:moveTo>
                      <a:pt x="147961" y="60093"/>
                    </a:moveTo>
                    <a:cubicBezTo>
                      <a:pt x="147961" y="93282"/>
                      <a:pt x="114839" y="120186"/>
                      <a:pt x="73981" y="120186"/>
                    </a:cubicBezTo>
                    <a:cubicBezTo>
                      <a:pt x="33122" y="120186"/>
                      <a:pt x="0" y="93282"/>
                      <a:pt x="0" y="60093"/>
                    </a:cubicBezTo>
                    <a:cubicBezTo>
                      <a:pt x="0" y="26905"/>
                      <a:pt x="33122" y="0"/>
                      <a:pt x="73981" y="0"/>
                    </a:cubicBezTo>
                    <a:cubicBezTo>
                      <a:pt x="114839" y="0"/>
                      <a:pt x="147961" y="26905"/>
                      <a:pt x="147961" y="6009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1" name="Freihandform: Form 120">
                <a:extLst>
                  <a:ext uri="{FF2B5EF4-FFF2-40B4-BE49-F238E27FC236}">
                    <a16:creationId xmlns:a16="http://schemas.microsoft.com/office/drawing/2014/main" id="{7FCF15C9-E3B4-C502-2D70-9461980E380E}"/>
                  </a:ext>
                </a:extLst>
              </p:cNvPr>
              <p:cNvSpPr/>
              <p:nvPr userDrawn="1"/>
            </p:nvSpPr>
            <p:spPr>
              <a:xfrm rot="19078378">
                <a:off x="7506034" y="3623216"/>
                <a:ext cx="147961" cy="120186"/>
              </a:xfrm>
              <a:custGeom>
                <a:avLst/>
                <a:gdLst>
                  <a:gd name="connsiteX0" fmla="*/ 147961 w 147961"/>
                  <a:gd name="connsiteY0" fmla="*/ 60093 h 120186"/>
                  <a:gd name="connsiteX1" fmla="*/ 73981 w 147961"/>
                  <a:gd name="connsiteY1" fmla="*/ 120186 h 120186"/>
                  <a:gd name="connsiteX2" fmla="*/ 0 w 147961"/>
                  <a:gd name="connsiteY2" fmla="*/ 60093 h 120186"/>
                  <a:gd name="connsiteX3" fmla="*/ 73981 w 147961"/>
                  <a:gd name="connsiteY3" fmla="*/ 0 h 120186"/>
                  <a:gd name="connsiteX4" fmla="*/ 147961 w 147961"/>
                  <a:gd name="connsiteY4" fmla="*/ 60093 h 120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961" h="120186">
                    <a:moveTo>
                      <a:pt x="147961" y="60093"/>
                    </a:moveTo>
                    <a:cubicBezTo>
                      <a:pt x="147961" y="93282"/>
                      <a:pt x="114839" y="120186"/>
                      <a:pt x="73981" y="120186"/>
                    </a:cubicBezTo>
                    <a:cubicBezTo>
                      <a:pt x="33122" y="120186"/>
                      <a:pt x="0" y="93282"/>
                      <a:pt x="0" y="60093"/>
                    </a:cubicBezTo>
                    <a:cubicBezTo>
                      <a:pt x="0" y="26905"/>
                      <a:pt x="33122" y="0"/>
                      <a:pt x="73981" y="0"/>
                    </a:cubicBezTo>
                    <a:cubicBezTo>
                      <a:pt x="114839" y="0"/>
                      <a:pt x="147961" y="26905"/>
                      <a:pt x="147961" y="60093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2" name="Freihandform: Form 121">
                <a:extLst>
                  <a:ext uri="{FF2B5EF4-FFF2-40B4-BE49-F238E27FC236}">
                    <a16:creationId xmlns:a16="http://schemas.microsoft.com/office/drawing/2014/main" id="{F611EC66-9C79-3CE1-92BC-C25D0B1444D4}"/>
                  </a:ext>
                </a:extLst>
              </p:cNvPr>
              <p:cNvSpPr/>
              <p:nvPr userDrawn="1"/>
            </p:nvSpPr>
            <p:spPr>
              <a:xfrm>
                <a:off x="6884891" y="3283261"/>
                <a:ext cx="607018" cy="228600"/>
              </a:xfrm>
              <a:custGeom>
                <a:avLst/>
                <a:gdLst>
                  <a:gd name="connsiteX0" fmla="*/ 163944 w 607018"/>
                  <a:gd name="connsiteY0" fmla="*/ 0 h 228600"/>
                  <a:gd name="connsiteX1" fmla="*/ 150057 w 607018"/>
                  <a:gd name="connsiteY1" fmla="*/ 66675 h 228600"/>
                  <a:gd name="connsiteX2" fmla="*/ 44053 w 607018"/>
                  <a:gd name="connsiteY2" fmla="*/ 66675 h 228600"/>
                  <a:gd name="connsiteX3" fmla="*/ 38100 w 607018"/>
                  <a:gd name="connsiteY3" fmla="*/ 95250 h 228600"/>
                  <a:gd name="connsiteX4" fmla="*/ 144104 w 607018"/>
                  <a:gd name="connsiteY4" fmla="*/ 95250 h 228600"/>
                  <a:gd name="connsiteX5" fmla="*/ 136169 w 607018"/>
                  <a:gd name="connsiteY5" fmla="*/ 133350 h 228600"/>
                  <a:gd name="connsiteX6" fmla="*/ 63103 w 607018"/>
                  <a:gd name="connsiteY6" fmla="*/ 133350 h 228600"/>
                  <a:gd name="connsiteX7" fmla="*/ 57150 w 607018"/>
                  <a:gd name="connsiteY7" fmla="*/ 161925 h 228600"/>
                  <a:gd name="connsiteX8" fmla="*/ 130216 w 607018"/>
                  <a:gd name="connsiteY8" fmla="*/ 161925 h 228600"/>
                  <a:gd name="connsiteX9" fmla="*/ 122282 w 607018"/>
                  <a:gd name="connsiteY9" fmla="*/ 200025 h 228600"/>
                  <a:gd name="connsiteX10" fmla="*/ 5953 w 607018"/>
                  <a:gd name="connsiteY10" fmla="*/ 200025 h 228600"/>
                  <a:gd name="connsiteX11" fmla="*/ 0 w 607018"/>
                  <a:gd name="connsiteY11" fmla="*/ 228600 h 228600"/>
                  <a:gd name="connsiteX12" fmla="*/ 116329 w 607018"/>
                  <a:gd name="connsiteY12" fmla="*/ 228600 h 228600"/>
                  <a:gd name="connsiteX13" fmla="*/ 196453 w 607018"/>
                  <a:gd name="connsiteY13" fmla="*/ 228600 h 228600"/>
                  <a:gd name="connsiteX14" fmla="*/ 559394 w 607018"/>
                  <a:gd name="connsiteY14" fmla="*/ 228600 h 228600"/>
                  <a:gd name="connsiteX15" fmla="*/ 607019 w 607018"/>
                  <a:gd name="connsiteY15" fmla="*/ 0 h 228600"/>
                  <a:gd name="connsiteX16" fmla="*/ 163944 w 607018"/>
                  <a:gd name="connsiteY16" fmla="*/ 0 h 228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07018" h="228600">
                    <a:moveTo>
                      <a:pt x="163944" y="0"/>
                    </a:moveTo>
                    <a:lnTo>
                      <a:pt x="150057" y="66675"/>
                    </a:lnTo>
                    <a:lnTo>
                      <a:pt x="44053" y="66675"/>
                    </a:lnTo>
                    <a:lnTo>
                      <a:pt x="38100" y="95250"/>
                    </a:lnTo>
                    <a:lnTo>
                      <a:pt x="144104" y="95250"/>
                    </a:lnTo>
                    <a:lnTo>
                      <a:pt x="136169" y="133350"/>
                    </a:lnTo>
                    <a:lnTo>
                      <a:pt x="63103" y="133350"/>
                    </a:lnTo>
                    <a:lnTo>
                      <a:pt x="57150" y="161925"/>
                    </a:lnTo>
                    <a:lnTo>
                      <a:pt x="130216" y="161925"/>
                    </a:lnTo>
                    <a:lnTo>
                      <a:pt x="122282" y="200025"/>
                    </a:lnTo>
                    <a:lnTo>
                      <a:pt x="5953" y="200025"/>
                    </a:lnTo>
                    <a:lnTo>
                      <a:pt x="0" y="228600"/>
                    </a:lnTo>
                    <a:lnTo>
                      <a:pt x="116329" y="228600"/>
                    </a:lnTo>
                    <a:lnTo>
                      <a:pt x="196453" y="228600"/>
                    </a:lnTo>
                    <a:lnTo>
                      <a:pt x="559394" y="228600"/>
                    </a:lnTo>
                    <a:lnTo>
                      <a:pt x="607019" y="0"/>
                    </a:lnTo>
                    <a:lnTo>
                      <a:pt x="163944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3" name="Freihandform: Form 122">
                <a:extLst>
                  <a:ext uri="{FF2B5EF4-FFF2-40B4-BE49-F238E27FC236}">
                    <a16:creationId xmlns:a16="http://schemas.microsoft.com/office/drawing/2014/main" id="{56B13B10-E989-0667-9C1D-7316C690A343}"/>
                  </a:ext>
                </a:extLst>
              </p:cNvPr>
              <p:cNvSpPr/>
              <p:nvPr userDrawn="1"/>
            </p:nvSpPr>
            <p:spPr>
              <a:xfrm>
                <a:off x="7446705" y="3340371"/>
                <a:ext cx="295411" cy="342939"/>
              </a:xfrm>
              <a:custGeom>
                <a:avLst/>
                <a:gdLst>
                  <a:gd name="connsiteX0" fmla="*/ 285550 w 295411"/>
                  <a:gd name="connsiteY0" fmla="*/ 179109 h 342939"/>
                  <a:gd name="connsiteX1" fmla="*/ 243011 w 295411"/>
                  <a:gd name="connsiteY1" fmla="*/ 141009 h 342939"/>
                  <a:gd name="connsiteX2" fmla="*/ 233839 w 295411"/>
                  <a:gd name="connsiteY2" fmla="*/ 121007 h 342939"/>
                  <a:gd name="connsiteX3" fmla="*/ 228476 w 295411"/>
                  <a:gd name="connsiteY3" fmla="*/ 55284 h 342939"/>
                  <a:gd name="connsiteX4" fmla="*/ 166688 w 295411"/>
                  <a:gd name="connsiteY4" fmla="*/ 39 h 342939"/>
                  <a:gd name="connsiteX5" fmla="*/ 71438 w 295411"/>
                  <a:gd name="connsiteY5" fmla="*/ 39 h 342939"/>
                  <a:gd name="connsiteX6" fmla="*/ 43615 w 295411"/>
                  <a:gd name="connsiteY6" fmla="*/ 133389 h 342939"/>
                  <a:gd name="connsiteX7" fmla="*/ 31709 w 295411"/>
                  <a:gd name="connsiteY7" fmla="*/ 190539 h 342939"/>
                  <a:gd name="connsiteX8" fmla="*/ 0 w 295411"/>
                  <a:gd name="connsiteY8" fmla="*/ 342939 h 342939"/>
                  <a:gd name="connsiteX9" fmla="*/ 38100 w 295411"/>
                  <a:gd name="connsiteY9" fmla="*/ 342939 h 342939"/>
                  <a:gd name="connsiteX10" fmla="*/ 153191 w 295411"/>
                  <a:gd name="connsiteY10" fmla="*/ 247689 h 342939"/>
                  <a:gd name="connsiteX11" fmla="*/ 228600 w 295411"/>
                  <a:gd name="connsiteY11" fmla="*/ 342939 h 342939"/>
                  <a:gd name="connsiteX12" fmla="*/ 274634 w 295411"/>
                  <a:gd name="connsiteY12" fmla="*/ 304839 h 342939"/>
                  <a:gd name="connsiteX13" fmla="*/ 294484 w 295411"/>
                  <a:gd name="connsiteY13" fmla="*/ 209589 h 342939"/>
                  <a:gd name="connsiteX14" fmla="*/ 285550 w 295411"/>
                  <a:gd name="connsiteY14" fmla="*/ 179109 h 342939"/>
                  <a:gd name="connsiteX15" fmla="*/ 81715 w 295411"/>
                  <a:gd name="connsiteY15" fmla="*/ 133389 h 342939"/>
                  <a:gd name="connsiteX16" fmla="*/ 101556 w 295411"/>
                  <a:gd name="connsiteY16" fmla="*/ 38139 h 342939"/>
                  <a:gd name="connsiteX17" fmla="*/ 158706 w 295411"/>
                  <a:gd name="connsiteY17" fmla="*/ 38139 h 342939"/>
                  <a:gd name="connsiteX18" fmla="*/ 189135 w 295411"/>
                  <a:gd name="connsiteY18" fmla="*/ 64731 h 342939"/>
                  <a:gd name="connsiteX19" fmla="*/ 189186 w 295411"/>
                  <a:gd name="connsiteY19" fmla="*/ 65762 h 342939"/>
                  <a:gd name="connsiteX20" fmla="*/ 194548 w 295411"/>
                  <a:gd name="connsiteY20" fmla="*/ 131484 h 342939"/>
                  <a:gd name="connsiteX21" fmla="*/ 195101 w 295411"/>
                  <a:gd name="connsiteY21" fmla="*/ 133389 h 342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95411" h="342939">
                    <a:moveTo>
                      <a:pt x="285550" y="179109"/>
                    </a:moveTo>
                    <a:lnTo>
                      <a:pt x="243011" y="141009"/>
                    </a:lnTo>
                    <a:cubicBezTo>
                      <a:pt x="237328" y="135891"/>
                      <a:pt x="234008" y="128653"/>
                      <a:pt x="233839" y="121007"/>
                    </a:cubicBezTo>
                    <a:lnTo>
                      <a:pt x="228476" y="55284"/>
                    </a:lnTo>
                    <a:cubicBezTo>
                      <a:pt x="226043" y="23272"/>
                      <a:pt x="198772" y="-1112"/>
                      <a:pt x="166688" y="39"/>
                    </a:cubicBezTo>
                    <a:lnTo>
                      <a:pt x="71438" y="39"/>
                    </a:lnTo>
                    <a:lnTo>
                      <a:pt x="43615" y="133389"/>
                    </a:lnTo>
                    <a:lnTo>
                      <a:pt x="31709" y="190539"/>
                    </a:lnTo>
                    <a:lnTo>
                      <a:pt x="0" y="342939"/>
                    </a:lnTo>
                    <a:lnTo>
                      <a:pt x="38100" y="342939"/>
                    </a:lnTo>
                    <a:cubicBezTo>
                      <a:pt x="49016" y="290552"/>
                      <a:pt x="100803" y="247689"/>
                      <a:pt x="153191" y="247689"/>
                    </a:cubicBezTo>
                    <a:cubicBezTo>
                      <a:pt x="205578" y="247689"/>
                      <a:pt x="239478" y="290552"/>
                      <a:pt x="228600" y="342939"/>
                    </a:cubicBezTo>
                    <a:cubicBezTo>
                      <a:pt x="250741" y="341969"/>
                      <a:pt x="269541" y="326407"/>
                      <a:pt x="274634" y="304839"/>
                    </a:cubicBezTo>
                    <a:lnTo>
                      <a:pt x="294484" y="209589"/>
                    </a:lnTo>
                    <a:cubicBezTo>
                      <a:pt x="297220" y="198561"/>
                      <a:pt x="293805" y="186915"/>
                      <a:pt x="285550" y="179109"/>
                    </a:cubicBezTo>
                    <a:close/>
                    <a:moveTo>
                      <a:pt x="81715" y="133389"/>
                    </a:moveTo>
                    <a:lnTo>
                      <a:pt x="101556" y="38139"/>
                    </a:lnTo>
                    <a:lnTo>
                      <a:pt x="158706" y="38139"/>
                    </a:lnTo>
                    <a:cubicBezTo>
                      <a:pt x="174451" y="37079"/>
                      <a:pt x="188075" y="48985"/>
                      <a:pt x="189135" y="64731"/>
                    </a:cubicBezTo>
                    <a:cubicBezTo>
                      <a:pt x="189158" y="65074"/>
                      <a:pt x="189175" y="65418"/>
                      <a:pt x="189186" y="65762"/>
                    </a:cubicBezTo>
                    <a:lnTo>
                      <a:pt x="194548" y="131484"/>
                    </a:lnTo>
                    <a:cubicBezTo>
                      <a:pt x="194348" y="132437"/>
                      <a:pt x="195301" y="132437"/>
                      <a:pt x="195101" y="13338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24" name="Freihandform: Form 123">
                <a:extLst>
                  <a:ext uri="{FF2B5EF4-FFF2-40B4-BE49-F238E27FC236}">
                    <a16:creationId xmlns:a16="http://schemas.microsoft.com/office/drawing/2014/main" id="{738017AD-07A2-0DF9-59FA-8E3E54ED2C61}"/>
                  </a:ext>
                </a:extLst>
              </p:cNvPr>
              <p:cNvSpPr/>
              <p:nvPr userDrawn="1"/>
            </p:nvSpPr>
            <p:spPr>
              <a:xfrm>
                <a:off x="6965501" y="3549961"/>
                <a:ext cx="470887" cy="133350"/>
              </a:xfrm>
              <a:custGeom>
                <a:avLst/>
                <a:gdLst>
                  <a:gd name="connsiteX0" fmla="*/ 0 w 470887"/>
                  <a:gd name="connsiteY0" fmla="*/ 133350 h 133350"/>
                  <a:gd name="connsiteX1" fmla="*/ 47625 w 470887"/>
                  <a:gd name="connsiteY1" fmla="*/ 133350 h 133350"/>
                  <a:gd name="connsiteX2" fmla="*/ 162716 w 470887"/>
                  <a:gd name="connsiteY2" fmla="*/ 38100 h 133350"/>
                  <a:gd name="connsiteX3" fmla="*/ 238125 w 470887"/>
                  <a:gd name="connsiteY3" fmla="*/ 133350 h 133350"/>
                  <a:gd name="connsiteX4" fmla="*/ 443103 w 470887"/>
                  <a:gd name="connsiteY4" fmla="*/ 133350 h 133350"/>
                  <a:gd name="connsiteX5" fmla="*/ 470887 w 470887"/>
                  <a:gd name="connsiteY5" fmla="*/ 0 h 133350"/>
                  <a:gd name="connsiteX6" fmla="*/ 27813 w 470887"/>
                  <a:gd name="connsiteY6" fmla="*/ 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0887" h="133350">
                    <a:moveTo>
                      <a:pt x="0" y="133350"/>
                    </a:moveTo>
                    <a:lnTo>
                      <a:pt x="47625" y="133350"/>
                    </a:lnTo>
                    <a:cubicBezTo>
                      <a:pt x="58541" y="80963"/>
                      <a:pt x="110328" y="38100"/>
                      <a:pt x="162716" y="38100"/>
                    </a:cubicBezTo>
                    <a:cubicBezTo>
                      <a:pt x="215103" y="38100"/>
                      <a:pt x="249041" y="80963"/>
                      <a:pt x="238125" y="133350"/>
                    </a:cubicBezTo>
                    <a:lnTo>
                      <a:pt x="443103" y="133350"/>
                    </a:lnTo>
                    <a:lnTo>
                      <a:pt x="470887" y="0"/>
                    </a:lnTo>
                    <a:lnTo>
                      <a:pt x="27813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3B7D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sp>
          <p:nvSpPr>
            <p:cNvPr id="96" name="Freeform 36">
              <a:extLst>
                <a:ext uri="{FF2B5EF4-FFF2-40B4-BE49-F238E27FC236}">
                  <a16:creationId xmlns:a16="http://schemas.microsoft.com/office/drawing/2014/main" id="{40E3678D-810A-C8BA-5CD6-AC3C4EA8580C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232597" y="4321281"/>
              <a:ext cx="760793" cy="620530"/>
            </a:xfrm>
            <a:custGeom>
              <a:avLst/>
              <a:gdLst/>
              <a:ahLst/>
              <a:cxnLst>
                <a:cxn ang="0">
                  <a:pos x="54" y="122"/>
                </a:cxn>
                <a:cxn ang="0">
                  <a:pos x="301" y="45"/>
                </a:cxn>
                <a:cxn ang="0">
                  <a:pos x="301" y="7"/>
                </a:cxn>
                <a:cxn ang="0">
                  <a:pos x="54" y="99"/>
                </a:cxn>
                <a:cxn ang="0">
                  <a:pos x="54" y="122"/>
                </a:cxn>
                <a:cxn ang="0">
                  <a:pos x="393" y="144"/>
                </a:cxn>
                <a:cxn ang="0">
                  <a:pos x="393" y="311"/>
                </a:cxn>
                <a:cxn ang="0">
                  <a:pos x="207" y="331"/>
                </a:cxn>
                <a:cxn ang="0">
                  <a:pos x="0" y="279"/>
                </a:cxn>
                <a:cxn ang="0">
                  <a:pos x="0" y="265"/>
                </a:cxn>
                <a:cxn ang="0">
                  <a:pos x="207" y="311"/>
                </a:cxn>
                <a:cxn ang="0">
                  <a:pos x="304" y="302"/>
                </a:cxn>
                <a:cxn ang="0">
                  <a:pos x="304" y="81"/>
                </a:cxn>
                <a:cxn ang="0">
                  <a:pos x="49" y="146"/>
                </a:cxn>
                <a:cxn ang="0">
                  <a:pos x="49" y="153"/>
                </a:cxn>
                <a:cxn ang="0">
                  <a:pos x="37" y="151"/>
                </a:cxn>
                <a:cxn ang="0">
                  <a:pos x="37" y="130"/>
                </a:cxn>
                <a:cxn ang="0">
                  <a:pos x="49" y="126"/>
                </a:cxn>
                <a:cxn ang="0">
                  <a:pos x="49" y="96"/>
                </a:cxn>
                <a:cxn ang="0">
                  <a:pos x="305" y="0"/>
                </a:cxn>
                <a:cxn ang="0">
                  <a:pos x="325" y="15"/>
                </a:cxn>
                <a:cxn ang="0">
                  <a:pos x="325" y="62"/>
                </a:cxn>
                <a:cxn ang="0">
                  <a:pos x="405" y="118"/>
                </a:cxn>
                <a:cxn ang="0">
                  <a:pos x="405" y="142"/>
                </a:cxn>
                <a:cxn ang="0">
                  <a:pos x="393" y="144"/>
                </a:cxn>
                <a:cxn ang="0">
                  <a:pos x="215" y="287"/>
                </a:cxn>
                <a:cxn ang="0">
                  <a:pos x="282" y="298"/>
                </a:cxn>
                <a:cxn ang="0">
                  <a:pos x="282" y="157"/>
                </a:cxn>
                <a:cxn ang="0">
                  <a:pos x="215" y="167"/>
                </a:cxn>
                <a:cxn ang="0">
                  <a:pos x="215" y="287"/>
                </a:cxn>
                <a:cxn ang="0">
                  <a:pos x="204" y="285"/>
                </a:cxn>
                <a:cxn ang="0">
                  <a:pos x="59" y="260"/>
                </a:cxn>
                <a:cxn ang="0">
                  <a:pos x="59" y="198"/>
                </a:cxn>
                <a:cxn ang="0">
                  <a:pos x="22" y="201"/>
                </a:cxn>
                <a:cxn ang="0">
                  <a:pos x="18" y="193"/>
                </a:cxn>
                <a:cxn ang="0">
                  <a:pos x="47" y="161"/>
                </a:cxn>
                <a:cxn ang="0">
                  <a:pos x="56" y="158"/>
                </a:cxn>
                <a:cxn ang="0">
                  <a:pos x="24" y="194"/>
                </a:cxn>
                <a:cxn ang="0">
                  <a:pos x="156" y="179"/>
                </a:cxn>
                <a:cxn ang="0">
                  <a:pos x="200" y="120"/>
                </a:cxn>
                <a:cxn ang="0">
                  <a:pos x="204" y="119"/>
                </a:cxn>
                <a:cxn ang="0">
                  <a:pos x="204" y="285"/>
                </a:cxn>
              </a:cxnLst>
              <a:rect l="0" t="0" r="r" b="b"/>
              <a:pathLst>
                <a:path w="405" h="331">
                  <a:moveTo>
                    <a:pt x="54" y="122"/>
                  </a:moveTo>
                  <a:cubicBezTo>
                    <a:pt x="301" y="45"/>
                    <a:pt x="301" y="45"/>
                    <a:pt x="301" y="45"/>
                  </a:cubicBezTo>
                  <a:cubicBezTo>
                    <a:pt x="301" y="7"/>
                    <a:pt x="301" y="7"/>
                    <a:pt x="301" y="7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54" y="122"/>
                    <a:pt x="54" y="122"/>
                    <a:pt x="54" y="122"/>
                  </a:cubicBezTo>
                  <a:close/>
                  <a:moveTo>
                    <a:pt x="393" y="144"/>
                  </a:moveTo>
                  <a:cubicBezTo>
                    <a:pt x="393" y="311"/>
                    <a:pt x="393" y="311"/>
                    <a:pt x="393" y="311"/>
                  </a:cubicBezTo>
                  <a:cubicBezTo>
                    <a:pt x="331" y="317"/>
                    <a:pt x="270" y="326"/>
                    <a:pt x="207" y="331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207" y="311"/>
                    <a:pt x="207" y="311"/>
                    <a:pt x="207" y="311"/>
                  </a:cubicBezTo>
                  <a:cubicBezTo>
                    <a:pt x="304" y="302"/>
                    <a:pt x="304" y="302"/>
                    <a:pt x="304" y="302"/>
                  </a:cubicBezTo>
                  <a:cubicBezTo>
                    <a:pt x="304" y="81"/>
                    <a:pt x="304" y="81"/>
                    <a:pt x="304" y="81"/>
                  </a:cubicBezTo>
                  <a:cubicBezTo>
                    <a:pt x="49" y="146"/>
                    <a:pt x="49" y="146"/>
                    <a:pt x="49" y="146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37" y="151"/>
                    <a:pt x="37" y="151"/>
                    <a:pt x="37" y="151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49" y="126"/>
                    <a:pt x="49" y="126"/>
                    <a:pt x="49" y="126"/>
                  </a:cubicBezTo>
                  <a:cubicBezTo>
                    <a:pt x="49" y="96"/>
                    <a:pt x="49" y="96"/>
                    <a:pt x="49" y="96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325" y="15"/>
                    <a:pt x="325" y="15"/>
                    <a:pt x="325" y="15"/>
                  </a:cubicBezTo>
                  <a:cubicBezTo>
                    <a:pt x="325" y="62"/>
                    <a:pt x="325" y="62"/>
                    <a:pt x="325" y="62"/>
                  </a:cubicBezTo>
                  <a:cubicBezTo>
                    <a:pt x="405" y="118"/>
                    <a:pt x="405" y="118"/>
                    <a:pt x="405" y="118"/>
                  </a:cubicBezTo>
                  <a:cubicBezTo>
                    <a:pt x="405" y="142"/>
                    <a:pt x="405" y="142"/>
                    <a:pt x="405" y="142"/>
                  </a:cubicBezTo>
                  <a:cubicBezTo>
                    <a:pt x="393" y="144"/>
                    <a:pt x="393" y="144"/>
                    <a:pt x="393" y="144"/>
                  </a:cubicBezTo>
                  <a:close/>
                  <a:moveTo>
                    <a:pt x="215" y="287"/>
                  </a:moveTo>
                  <a:cubicBezTo>
                    <a:pt x="282" y="298"/>
                    <a:pt x="282" y="298"/>
                    <a:pt x="282" y="298"/>
                  </a:cubicBezTo>
                  <a:cubicBezTo>
                    <a:pt x="282" y="157"/>
                    <a:pt x="282" y="157"/>
                    <a:pt x="282" y="157"/>
                  </a:cubicBezTo>
                  <a:cubicBezTo>
                    <a:pt x="215" y="167"/>
                    <a:pt x="215" y="167"/>
                    <a:pt x="215" y="167"/>
                  </a:cubicBezTo>
                  <a:cubicBezTo>
                    <a:pt x="215" y="287"/>
                    <a:pt x="215" y="287"/>
                    <a:pt x="215" y="287"/>
                  </a:cubicBezTo>
                  <a:close/>
                  <a:moveTo>
                    <a:pt x="204" y="285"/>
                  </a:moveTo>
                  <a:cubicBezTo>
                    <a:pt x="59" y="260"/>
                    <a:pt x="59" y="260"/>
                    <a:pt x="59" y="260"/>
                  </a:cubicBezTo>
                  <a:cubicBezTo>
                    <a:pt x="59" y="198"/>
                    <a:pt x="59" y="198"/>
                    <a:pt x="59" y="198"/>
                  </a:cubicBezTo>
                  <a:cubicBezTo>
                    <a:pt x="22" y="201"/>
                    <a:pt x="22" y="201"/>
                    <a:pt x="22" y="201"/>
                  </a:cubicBezTo>
                  <a:cubicBezTo>
                    <a:pt x="18" y="193"/>
                    <a:pt x="18" y="193"/>
                    <a:pt x="18" y="193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56" y="158"/>
                    <a:pt x="56" y="158"/>
                    <a:pt x="56" y="158"/>
                  </a:cubicBezTo>
                  <a:cubicBezTo>
                    <a:pt x="24" y="194"/>
                    <a:pt x="24" y="194"/>
                    <a:pt x="24" y="194"/>
                  </a:cubicBezTo>
                  <a:cubicBezTo>
                    <a:pt x="68" y="189"/>
                    <a:pt x="112" y="184"/>
                    <a:pt x="156" y="179"/>
                  </a:cubicBezTo>
                  <a:cubicBezTo>
                    <a:pt x="200" y="120"/>
                    <a:pt x="200" y="120"/>
                    <a:pt x="200" y="120"/>
                  </a:cubicBezTo>
                  <a:cubicBezTo>
                    <a:pt x="204" y="119"/>
                    <a:pt x="204" y="119"/>
                    <a:pt x="204" y="119"/>
                  </a:cubicBezTo>
                  <a:cubicBezTo>
                    <a:pt x="204" y="285"/>
                    <a:pt x="204" y="285"/>
                    <a:pt x="204" y="285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7" name="Rectangle 75">
              <a:extLst>
                <a:ext uri="{FF2B5EF4-FFF2-40B4-BE49-F238E27FC236}">
                  <a16:creationId xmlns:a16="http://schemas.microsoft.com/office/drawing/2014/main" id="{541AC81A-2746-A518-6900-41444A29DB85}"/>
                </a:ext>
              </a:extLst>
            </p:cNvPr>
            <p:cNvSpPr/>
            <p:nvPr userDrawn="1"/>
          </p:nvSpPr>
          <p:spPr>
            <a:xfrm>
              <a:off x="1475003" y="1673355"/>
              <a:ext cx="2745529" cy="2508212"/>
            </a:xfrm>
            <a:prstGeom prst="rect">
              <a:avLst/>
            </a:prstGeom>
            <a:noFill/>
          </p:spPr>
          <p:txBody>
            <a:bodyPr spcFirstLastPara="1" wrap="none" lIns="91440" tIns="45720" rIns="91440" bIns="45720" numCol="1">
              <a:prstTxWarp prst="textArchUp">
                <a:avLst>
                  <a:gd name="adj" fmla="val 9372287"/>
                </a:avLst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 w="0"/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IGITAL</a:t>
              </a:r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A3C57CD3-4B64-547F-C2D8-D756E9D4E999}"/>
                </a:ext>
              </a:extLst>
            </p:cNvPr>
            <p:cNvSpPr/>
            <p:nvPr userDrawn="1"/>
          </p:nvSpPr>
          <p:spPr>
            <a:xfrm>
              <a:off x="2405646" y="4155437"/>
              <a:ext cx="926258" cy="847082"/>
            </a:xfrm>
            <a:custGeom>
              <a:avLst/>
              <a:gdLst>
                <a:gd name="connsiteX0" fmla="*/ 1195994 w 1195994"/>
                <a:gd name="connsiteY0" fmla="*/ 0 h 1093970"/>
                <a:gd name="connsiteX1" fmla="*/ 1175703 w 1195994"/>
                <a:gd name="connsiteY1" fmla="*/ 132954 h 1093970"/>
                <a:gd name="connsiteX2" fmla="*/ 702139 w 1195994"/>
                <a:gd name="connsiteY2" fmla="*/ 1011314 h 1093970"/>
                <a:gd name="connsiteX3" fmla="*/ 611194 w 1195994"/>
                <a:gd name="connsiteY3" fmla="*/ 1093970 h 1093970"/>
                <a:gd name="connsiteX4" fmla="*/ 608798 w 1195994"/>
                <a:gd name="connsiteY4" fmla="*/ 1092178 h 1093970"/>
                <a:gd name="connsiteX5" fmla="*/ 11857 w 1195994"/>
                <a:gd name="connsiteY5" fmla="*/ 101686 h 1093970"/>
                <a:gd name="connsiteX6" fmla="*/ 0 w 1195994"/>
                <a:gd name="connsiteY6" fmla="*/ 23993 h 1093970"/>
                <a:gd name="connsiteX7" fmla="*/ 48583 w 1195994"/>
                <a:gd name="connsiteY7" fmla="*/ 41774 h 1093970"/>
                <a:gd name="connsiteX8" fmla="*/ 565221 w 1195994"/>
                <a:gd name="connsiteY8" fmla="*/ 119882 h 1093970"/>
                <a:gd name="connsiteX9" fmla="*/ 1081859 w 1195994"/>
                <a:gd name="connsiteY9" fmla="*/ 41774 h 1093970"/>
                <a:gd name="connsiteX10" fmla="*/ 1195994 w 1195994"/>
                <a:gd name="connsiteY10" fmla="*/ 0 h 10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5994" h="1093970">
                  <a:moveTo>
                    <a:pt x="1195994" y="0"/>
                  </a:moveTo>
                  <a:lnTo>
                    <a:pt x="1175703" y="132954"/>
                  </a:lnTo>
                  <a:cubicBezTo>
                    <a:pt x="1106274" y="472248"/>
                    <a:pt x="937939" y="775514"/>
                    <a:pt x="702139" y="1011314"/>
                  </a:cubicBezTo>
                  <a:lnTo>
                    <a:pt x="611194" y="1093970"/>
                  </a:lnTo>
                  <a:lnTo>
                    <a:pt x="608798" y="1092178"/>
                  </a:lnTo>
                  <a:cubicBezTo>
                    <a:pt x="308480" y="844334"/>
                    <a:pt x="92858" y="497528"/>
                    <a:pt x="11857" y="101686"/>
                  </a:cubicBezTo>
                  <a:lnTo>
                    <a:pt x="0" y="23993"/>
                  </a:lnTo>
                  <a:lnTo>
                    <a:pt x="48583" y="41774"/>
                  </a:lnTo>
                  <a:cubicBezTo>
                    <a:pt x="211789" y="92536"/>
                    <a:pt x="385312" y="119882"/>
                    <a:pt x="565221" y="119882"/>
                  </a:cubicBezTo>
                  <a:cubicBezTo>
                    <a:pt x="745131" y="119882"/>
                    <a:pt x="918653" y="92536"/>
                    <a:pt x="1081859" y="41774"/>
                  </a:cubicBezTo>
                  <a:lnTo>
                    <a:pt x="1195994" y="0"/>
                  </a:lnTo>
                  <a:close/>
                </a:path>
              </a:pathLst>
            </a:custGeom>
            <a:solidFill>
              <a:srgbClr val="DADADA"/>
            </a:solidFill>
            <a:ln w="19050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BD051AE0-7830-BD52-15AE-AC769E4D2B66}"/>
                </a:ext>
              </a:extLst>
            </p:cNvPr>
            <p:cNvSpPr/>
            <p:nvPr userDrawn="1"/>
          </p:nvSpPr>
          <p:spPr>
            <a:xfrm>
              <a:off x="605411" y="2700099"/>
              <a:ext cx="2271596" cy="2650805"/>
            </a:xfrm>
            <a:custGeom>
              <a:avLst/>
              <a:gdLst>
                <a:gd name="connsiteX0" fmla="*/ 1106587 w 2874914"/>
                <a:gd name="connsiteY0" fmla="*/ 0 h 3354838"/>
                <a:gd name="connsiteX1" fmla="*/ 1100551 w 2874914"/>
                <a:gd name="connsiteY1" fmla="*/ 39550 h 3354838"/>
                <a:gd name="connsiteX2" fmla="*/ 1091581 w 2874914"/>
                <a:gd name="connsiteY2" fmla="*/ 217185 h 3354838"/>
                <a:gd name="connsiteX3" fmla="*/ 2152682 w 2874914"/>
                <a:gd name="connsiteY3" fmla="*/ 1818015 h 3354838"/>
                <a:gd name="connsiteX4" fmla="*/ 2263720 w 2874914"/>
                <a:gd name="connsiteY4" fmla="*/ 1858656 h 3354838"/>
                <a:gd name="connsiteX5" fmla="*/ 2275577 w 2874914"/>
                <a:gd name="connsiteY5" fmla="*/ 1936349 h 3354838"/>
                <a:gd name="connsiteX6" fmla="*/ 2872518 w 2874914"/>
                <a:gd name="connsiteY6" fmla="*/ 2926841 h 3354838"/>
                <a:gd name="connsiteX7" fmla="*/ 2874914 w 2874914"/>
                <a:gd name="connsiteY7" fmla="*/ 2928633 h 3354838"/>
                <a:gd name="connsiteX8" fmla="*/ 2842482 w 2874914"/>
                <a:gd name="connsiteY8" fmla="*/ 2958109 h 3354838"/>
                <a:gd name="connsiteX9" fmla="*/ 1737360 w 2874914"/>
                <a:gd name="connsiteY9" fmla="*/ 3354838 h 3354838"/>
                <a:gd name="connsiteX10" fmla="*/ 0 w 2874914"/>
                <a:gd name="connsiteY10" fmla="*/ 1617478 h 3354838"/>
                <a:gd name="connsiteX11" fmla="*/ 1061101 w 2874914"/>
                <a:gd name="connsiteY11" fmla="*/ 16648 h 3354838"/>
                <a:gd name="connsiteX12" fmla="*/ 1106587 w 2874914"/>
                <a:gd name="connsiteY12" fmla="*/ 0 h 3354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74914" h="3354838">
                  <a:moveTo>
                    <a:pt x="1106587" y="0"/>
                  </a:moveTo>
                  <a:lnTo>
                    <a:pt x="1100551" y="39550"/>
                  </a:lnTo>
                  <a:cubicBezTo>
                    <a:pt x="1094619" y="97955"/>
                    <a:pt x="1091581" y="157215"/>
                    <a:pt x="1091581" y="217185"/>
                  </a:cubicBezTo>
                  <a:cubicBezTo>
                    <a:pt x="1091581" y="936823"/>
                    <a:pt x="1529117" y="1554269"/>
                    <a:pt x="2152682" y="1818015"/>
                  </a:cubicBezTo>
                  <a:lnTo>
                    <a:pt x="2263720" y="1858656"/>
                  </a:lnTo>
                  <a:lnTo>
                    <a:pt x="2275577" y="1936349"/>
                  </a:lnTo>
                  <a:cubicBezTo>
                    <a:pt x="2356578" y="2332191"/>
                    <a:pt x="2572200" y="2678997"/>
                    <a:pt x="2872518" y="2926841"/>
                  </a:cubicBezTo>
                  <a:lnTo>
                    <a:pt x="2874914" y="2928633"/>
                  </a:lnTo>
                  <a:lnTo>
                    <a:pt x="2842482" y="2958109"/>
                  </a:lnTo>
                  <a:cubicBezTo>
                    <a:pt x="2542164" y="3205954"/>
                    <a:pt x="2157148" y="3354838"/>
                    <a:pt x="1737360" y="3354838"/>
                  </a:cubicBezTo>
                  <a:cubicBezTo>
                    <a:pt x="777843" y="3354838"/>
                    <a:pt x="0" y="2576995"/>
                    <a:pt x="0" y="1617478"/>
                  </a:cubicBezTo>
                  <a:cubicBezTo>
                    <a:pt x="0" y="897840"/>
                    <a:pt x="437537" y="280394"/>
                    <a:pt x="1061101" y="16648"/>
                  </a:cubicBezTo>
                  <a:lnTo>
                    <a:pt x="1106587" y="0"/>
                  </a:lnTo>
                  <a:close/>
                </a:path>
              </a:pathLst>
            </a:custGeom>
            <a:solidFill>
              <a:srgbClr val="DADADA"/>
            </a:solidFill>
            <a:ln w="19050">
              <a:solidFill>
                <a:srgbClr val="FFFFFF"/>
              </a:solidFill>
            </a:ln>
            <a:effectLst/>
          </p:spPr>
          <p:txBody>
            <a:bodyPr rtlCol="0" anchor="t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0C9585C6-E99B-3B46-7F28-5EE090972827}"/>
                </a:ext>
              </a:extLst>
            </p:cNvPr>
            <p:cNvSpPr/>
            <p:nvPr userDrawn="1"/>
          </p:nvSpPr>
          <p:spPr>
            <a:xfrm>
              <a:off x="1205411" y="4427643"/>
              <a:ext cx="1030532" cy="402569"/>
            </a:xfrm>
            <a:custGeom>
              <a:avLst/>
              <a:gdLst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2056446 w 4139565"/>
                <a:gd name="connsiteY4" fmla="*/ 1197984 h 1616393"/>
                <a:gd name="connsiteX5" fmla="*/ 1989772 w 4139565"/>
                <a:gd name="connsiteY5" fmla="*/ 1203772 h 1616393"/>
                <a:gd name="connsiteX6" fmla="*/ 1989772 w 4139565"/>
                <a:gd name="connsiteY6" fmla="*/ 1584090 h 1616393"/>
                <a:gd name="connsiteX7" fmla="*/ 2056446 w 4139565"/>
                <a:gd name="connsiteY7" fmla="*/ 1584223 h 1616393"/>
                <a:gd name="connsiteX8" fmla="*/ 2426447 w 4139565"/>
                <a:gd name="connsiteY8" fmla="*/ 1165863 h 1616393"/>
                <a:gd name="connsiteX9" fmla="*/ 2199321 w 4139565"/>
                <a:gd name="connsiteY9" fmla="*/ 1185581 h 1616393"/>
                <a:gd name="connsiteX10" fmla="*/ 2199321 w 4139565"/>
                <a:gd name="connsiteY10" fmla="*/ 1584507 h 1616393"/>
                <a:gd name="connsiteX11" fmla="*/ 2426970 w 4139565"/>
                <a:gd name="connsiteY11" fmla="*/ 1584960 h 1616393"/>
                <a:gd name="connsiteX12" fmla="*/ 2199321 w 4139565"/>
                <a:gd name="connsiteY12" fmla="*/ 1144667 h 1616393"/>
                <a:gd name="connsiteX13" fmla="*/ 2199321 w 4139565"/>
                <a:gd name="connsiteY13" fmla="*/ 1144667 h 1616393"/>
                <a:gd name="connsiteX14" fmla="*/ 2386186 w 4139565"/>
                <a:gd name="connsiteY14" fmla="*/ 1160551 h 1616393"/>
                <a:gd name="connsiteX15" fmla="*/ 2425065 w 4139565"/>
                <a:gd name="connsiteY15" fmla="*/ 58103 h 1616393"/>
                <a:gd name="connsiteX16" fmla="*/ 34290 w 4139565"/>
                <a:gd name="connsiteY16" fmla="*/ 1084898 h 1616393"/>
                <a:gd name="connsiteX17" fmla="*/ 34290 w 4139565"/>
                <a:gd name="connsiteY17" fmla="*/ 1580198 h 1616393"/>
                <a:gd name="connsiteX18" fmla="*/ 1102994 w 4139565"/>
                <a:gd name="connsiteY18" fmla="*/ 1582325 h 1616393"/>
                <a:gd name="connsiteX19" fmla="*/ 1102994 w 4139565"/>
                <a:gd name="connsiteY19" fmla="*/ 1240156 h 1616393"/>
                <a:gd name="connsiteX20" fmla="*/ 2056446 w 4139565"/>
                <a:gd name="connsiteY20" fmla="*/ 1132523 h 1616393"/>
                <a:gd name="connsiteX21" fmla="*/ 2120328 w 4139565"/>
                <a:gd name="connsiteY21" fmla="*/ 1137953 h 1616393"/>
                <a:gd name="connsiteX22" fmla="*/ 2056447 w 4139565"/>
                <a:gd name="connsiteY22" fmla="*/ 1132523 h 1616393"/>
                <a:gd name="connsiteX23" fmla="*/ 2056447 w 4139565"/>
                <a:gd name="connsiteY23" fmla="*/ 1100138 h 1616393"/>
                <a:gd name="connsiteX24" fmla="*/ 2056446 w 4139565"/>
                <a:gd name="connsiteY24" fmla="*/ 1100138 h 1616393"/>
                <a:gd name="connsiteX25" fmla="*/ 1151572 w 4139565"/>
                <a:gd name="connsiteY25" fmla="*/ 1216343 h 1616393"/>
                <a:gd name="connsiteX26" fmla="*/ 1151572 w 4139565"/>
                <a:gd name="connsiteY26" fmla="*/ 1234441 h 1616393"/>
                <a:gd name="connsiteX27" fmla="*/ 2056011 w 4139565"/>
                <a:gd name="connsiteY27" fmla="*/ 1132572 h 1616393"/>
                <a:gd name="connsiteX28" fmla="*/ 1102994 w 4139565"/>
                <a:gd name="connsiteY28" fmla="*/ 1240156 h 1616393"/>
                <a:gd name="connsiteX29" fmla="*/ 1102994 w 4139565"/>
                <a:gd name="connsiteY29" fmla="*/ 1193483 h 1616393"/>
                <a:gd name="connsiteX30" fmla="*/ 2056446 w 4139565"/>
                <a:gd name="connsiteY30" fmla="*/ 1060133 h 1616393"/>
                <a:gd name="connsiteX31" fmla="*/ 2426351 w 4139565"/>
                <a:gd name="connsiteY31" fmla="*/ 1088800 h 1616393"/>
                <a:gd name="connsiteX32" fmla="*/ 2437446 w 4139565"/>
                <a:gd name="connsiteY32" fmla="*/ 0 h 1616393"/>
                <a:gd name="connsiteX33" fmla="*/ 2437447 w 4139565"/>
                <a:gd name="connsiteY33" fmla="*/ 0 h 1616393"/>
                <a:gd name="connsiteX34" fmla="*/ 2437447 w 4139565"/>
                <a:gd name="connsiteY34" fmla="*/ 1 h 1616393"/>
                <a:gd name="connsiteX35" fmla="*/ 4139564 w 4139565"/>
                <a:gd name="connsiteY35" fmla="*/ 742950 h 1616393"/>
                <a:gd name="connsiteX36" fmla="*/ 4139564 w 4139565"/>
                <a:gd name="connsiteY36" fmla="*/ 1451610 h 1616393"/>
                <a:gd name="connsiteX37" fmla="*/ 4139565 w 4139565"/>
                <a:gd name="connsiteY37" fmla="*/ 1451610 h 1616393"/>
                <a:gd name="connsiteX38" fmla="*/ 4139565 w 4139565"/>
                <a:gd name="connsiteY38" fmla="*/ 1616393 h 1616393"/>
                <a:gd name="connsiteX39" fmla="*/ 0 w 4139565"/>
                <a:gd name="connsiteY39" fmla="*/ 1616393 h 1616393"/>
                <a:gd name="connsiteX40" fmla="*/ 0 w 4139565"/>
                <a:gd name="connsiteY40" fmla="*/ 1451610 h 1616393"/>
                <a:gd name="connsiteX41" fmla="*/ 0 w 4139565"/>
                <a:gd name="connsiteY41" fmla="*/ 1063943 h 1616393"/>
                <a:gd name="connsiteX42" fmla="*/ 2437446 w 4139565"/>
                <a:gd name="connsiteY42" fmla="*/ 1 h 1616393"/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1245869 w 4139565"/>
                <a:gd name="connsiteY4" fmla="*/ 1240156 h 1616393"/>
                <a:gd name="connsiteX5" fmla="*/ 2056446 w 4139565"/>
                <a:gd name="connsiteY5" fmla="*/ 1197984 h 1616393"/>
                <a:gd name="connsiteX6" fmla="*/ 1989772 w 4139565"/>
                <a:gd name="connsiteY6" fmla="*/ 1203772 h 1616393"/>
                <a:gd name="connsiteX7" fmla="*/ 1989772 w 4139565"/>
                <a:gd name="connsiteY7" fmla="*/ 1584090 h 1616393"/>
                <a:gd name="connsiteX8" fmla="*/ 2056446 w 4139565"/>
                <a:gd name="connsiteY8" fmla="*/ 1584223 h 1616393"/>
                <a:gd name="connsiteX9" fmla="*/ 2056446 w 4139565"/>
                <a:gd name="connsiteY9" fmla="*/ 1197984 h 1616393"/>
                <a:gd name="connsiteX10" fmla="*/ 2426447 w 4139565"/>
                <a:gd name="connsiteY10" fmla="*/ 1165863 h 1616393"/>
                <a:gd name="connsiteX11" fmla="*/ 2199321 w 4139565"/>
                <a:gd name="connsiteY11" fmla="*/ 1185581 h 1616393"/>
                <a:gd name="connsiteX12" fmla="*/ 2199321 w 4139565"/>
                <a:gd name="connsiteY12" fmla="*/ 1584507 h 1616393"/>
                <a:gd name="connsiteX13" fmla="*/ 2426970 w 4139565"/>
                <a:gd name="connsiteY13" fmla="*/ 1584960 h 1616393"/>
                <a:gd name="connsiteX14" fmla="*/ 2426447 w 4139565"/>
                <a:gd name="connsiteY14" fmla="*/ 1165863 h 1616393"/>
                <a:gd name="connsiteX15" fmla="*/ 2199321 w 4139565"/>
                <a:gd name="connsiteY15" fmla="*/ 1144667 h 1616393"/>
                <a:gd name="connsiteX16" fmla="*/ 2199321 w 4139565"/>
                <a:gd name="connsiteY16" fmla="*/ 1144667 h 1616393"/>
                <a:gd name="connsiteX17" fmla="*/ 2386186 w 4139565"/>
                <a:gd name="connsiteY17" fmla="*/ 1160551 h 1616393"/>
                <a:gd name="connsiteX18" fmla="*/ 2199321 w 4139565"/>
                <a:gd name="connsiteY18" fmla="*/ 1144667 h 1616393"/>
                <a:gd name="connsiteX19" fmla="*/ 2425065 w 4139565"/>
                <a:gd name="connsiteY19" fmla="*/ 58103 h 1616393"/>
                <a:gd name="connsiteX20" fmla="*/ 34290 w 4139565"/>
                <a:gd name="connsiteY20" fmla="*/ 1084898 h 1616393"/>
                <a:gd name="connsiteX21" fmla="*/ 34290 w 4139565"/>
                <a:gd name="connsiteY21" fmla="*/ 1580198 h 1616393"/>
                <a:gd name="connsiteX22" fmla="*/ 1102994 w 4139565"/>
                <a:gd name="connsiteY22" fmla="*/ 1582325 h 1616393"/>
                <a:gd name="connsiteX23" fmla="*/ 1102994 w 4139565"/>
                <a:gd name="connsiteY23" fmla="*/ 1240156 h 1616393"/>
                <a:gd name="connsiteX24" fmla="*/ 2056446 w 4139565"/>
                <a:gd name="connsiteY24" fmla="*/ 1132523 h 1616393"/>
                <a:gd name="connsiteX25" fmla="*/ 2120328 w 4139565"/>
                <a:gd name="connsiteY25" fmla="*/ 1137953 h 1616393"/>
                <a:gd name="connsiteX26" fmla="*/ 2056447 w 4139565"/>
                <a:gd name="connsiteY26" fmla="*/ 1132523 h 1616393"/>
                <a:gd name="connsiteX27" fmla="*/ 2056447 w 4139565"/>
                <a:gd name="connsiteY27" fmla="*/ 1100138 h 1616393"/>
                <a:gd name="connsiteX28" fmla="*/ 2056446 w 4139565"/>
                <a:gd name="connsiteY28" fmla="*/ 1100138 h 1616393"/>
                <a:gd name="connsiteX29" fmla="*/ 1151572 w 4139565"/>
                <a:gd name="connsiteY29" fmla="*/ 1216343 h 1616393"/>
                <a:gd name="connsiteX30" fmla="*/ 1151572 w 4139565"/>
                <a:gd name="connsiteY30" fmla="*/ 1234441 h 1616393"/>
                <a:gd name="connsiteX31" fmla="*/ 2056011 w 4139565"/>
                <a:gd name="connsiteY31" fmla="*/ 1132572 h 1616393"/>
                <a:gd name="connsiteX32" fmla="*/ 1102994 w 4139565"/>
                <a:gd name="connsiteY32" fmla="*/ 1240156 h 1616393"/>
                <a:gd name="connsiteX33" fmla="*/ 1102994 w 4139565"/>
                <a:gd name="connsiteY33" fmla="*/ 1193483 h 1616393"/>
                <a:gd name="connsiteX34" fmla="*/ 2056446 w 4139565"/>
                <a:gd name="connsiteY34" fmla="*/ 1060133 h 1616393"/>
                <a:gd name="connsiteX35" fmla="*/ 2426351 w 4139565"/>
                <a:gd name="connsiteY35" fmla="*/ 1088800 h 1616393"/>
                <a:gd name="connsiteX36" fmla="*/ 2425065 w 4139565"/>
                <a:gd name="connsiteY36" fmla="*/ 58103 h 1616393"/>
                <a:gd name="connsiteX37" fmla="*/ 2437446 w 4139565"/>
                <a:gd name="connsiteY37" fmla="*/ 0 h 1616393"/>
                <a:gd name="connsiteX38" fmla="*/ 2437447 w 4139565"/>
                <a:gd name="connsiteY38" fmla="*/ 0 h 1616393"/>
                <a:gd name="connsiteX39" fmla="*/ 2437447 w 4139565"/>
                <a:gd name="connsiteY39" fmla="*/ 1 h 1616393"/>
                <a:gd name="connsiteX40" fmla="*/ 4139564 w 4139565"/>
                <a:gd name="connsiteY40" fmla="*/ 742950 h 1616393"/>
                <a:gd name="connsiteX41" fmla="*/ 4139564 w 4139565"/>
                <a:gd name="connsiteY41" fmla="*/ 1451610 h 1616393"/>
                <a:gd name="connsiteX42" fmla="*/ 4139565 w 4139565"/>
                <a:gd name="connsiteY42" fmla="*/ 1451610 h 1616393"/>
                <a:gd name="connsiteX43" fmla="*/ 4139565 w 4139565"/>
                <a:gd name="connsiteY43" fmla="*/ 1616393 h 1616393"/>
                <a:gd name="connsiteX44" fmla="*/ 0 w 4139565"/>
                <a:gd name="connsiteY44" fmla="*/ 1616393 h 1616393"/>
                <a:gd name="connsiteX45" fmla="*/ 0 w 4139565"/>
                <a:gd name="connsiteY45" fmla="*/ 1451610 h 1616393"/>
                <a:gd name="connsiteX46" fmla="*/ 0 w 4139565"/>
                <a:gd name="connsiteY46" fmla="*/ 926806 h 1616393"/>
                <a:gd name="connsiteX47" fmla="*/ 2437446 w 4139565"/>
                <a:gd name="connsiteY47" fmla="*/ 1 h 1616393"/>
                <a:gd name="connsiteX48" fmla="*/ 2437446 w 4139565"/>
                <a:gd name="connsiteY48" fmla="*/ 0 h 1616393"/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1245869 w 4139565"/>
                <a:gd name="connsiteY4" fmla="*/ 1240156 h 1616393"/>
                <a:gd name="connsiteX5" fmla="*/ 2056446 w 4139565"/>
                <a:gd name="connsiteY5" fmla="*/ 1197984 h 1616393"/>
                <a:gd name="connsiteX6" fmla="*/ 1989772 w 4139565"/>
                <a:gd name="connsiteY6" fmla="*/ 1203772 h 1616393"/>
                <a:gd name="connsiteX7" fmla="*/ 1989772 w 4139565"/>
                <a:gd name="connsiteY7" fmla="*/ 1584090 h 1616393"/>
                <a:gd name="connsiteX8" fmla="*/ 2056446 w 4139565"/>
                <a:gd name="connsiteY8" fmla="*/ 1584223 h 1616393"/>
                <a:gd name="connsiteX9" fmla="*/ 2056446 w 4139565"/>
                <a:gd name="connsiteY9" fmla="*/ 1197984 h 1616393"/>
                <a:gd name="connsiteX10" fmla="*/ 2426447 w 4139565"/>
                <a:gd name="connsiteY10" fmla="*/ 1165863 h 1616393"/>
                <a:gd name="connsiteX11" fmla="*/ 2199321 w 4139565"/>
                <a:gd name="connsiteY11" fmla="*/ 1185581 h 1616393"/>
                <a:gd name="connsiteX12" fmla="*/ 2199321 w 4139565"/>
                <a:gd name="connsiteY12" fmla="*/ 1584507 h 1616393"/>
                <a:gd name="connsiteX13" fmla="*/ 2426970 w 4139565"/>
                <a:gd name="connsiteY13" fmla="*/ 1584960 h 1616393"/>
                <a:gd name="connsiteX14" fmla="*/ 2426447 w 4139565"/>
                <a:gd name="connsiteY14" fmla="*/ 1165863 h 1616393"/>
                <a:gd name="connsiteX15" fmla="*/ 2199321 w 4139565"/>
                <a:gd name="connsiteY15" fmla="*/ 1144667 h 1616393"/>
                <a:gd name="connsiteX16" fmla="*/ 2199321 w 4139565"/>
                <a:gd name="connsiteY16" fmla="*/ 1144667 h 1616393"/>
                <a:gd name="connsiteX17" fmla="*/ 2386186 w 4139565"/>
                <a:gd name="connsiteY17" fmla="*/ 1160551 h 1616393"/>
                <a:gd name="connsiteX18" fmla="*/ 2199321 w 4139565"/>
                <a:gd name="connsiteY18" fmla="*/ 1144667 h 1616393"/>
                <a:gd name="connsiteX19" fmla="*/ 2425065 w 4139565"/>
                <a:gd name="connsiteY19" fmla="*/ 58103 h 1616393"/>
                <a:gd name="connsiteX20" fmla="*/ 34289 w 4139565"/>
                <a:gd name="connsiteY20" fmla="*/ 950505 h 1616393"/>
                <a:gd name="connsiteX21" fmla="*/ 34290 w 4139565"/>
                <a:gd name="connsiteY21" fmla="*/ 1580198 h 1616393"/>
                <a:gd name="connsiteX22" fmla="*/ 1102994 w 4139565"/>
                <a:gd name="connsiteY22" fmla="*/ 1582325 h 1616393"/>
                <a:gd name="connsiteX23" fmla="*/ 1102994 w 4139565"/>
                <a:gd name="connsiteY23" fmla="*/ 1240156 h 1616393"/>
                <a:gd name="connsiteX24" fmla="*/ 2056446 w 4139565"/>
                <a:gd name="connsiteY24" fmla="*/ 1132523 h 1616393"/>
                <a:gd name="connsiteX25" fmla="*/ 2120328 w 4139565"/>
                <a:gd name="connsiteY25" fmla="*/ 1137953 h 1616393"/>
                <a:gd name="connsiteX26" fmla="*/ 2056447 w 4139565"/>
                <a:gd name="connsiteY26" fmla="*/ 1132523 h 1616393"/>
                <a:gd name="connsiteX27" fmla="*/ 2056447 w 4139565"/>
                <a:gd name="connsiteY27" fmla="*/ 1100138 h 1616393"/>
                <a:gd name="connsiteX28" fmla="*/ 2056446 w 4139565"/>
                <a:gd name="connsiteY28" fmla="*/ 1100138 h 1616393"/>
                <a:gd name="connsiteX29" fmla="*/ 1151572 w 4139565"/>
                <a:gd name="connsiteY29" fmla="*/ 1216343 h 1616393"/>
                <a:gd name="connsiteX30" fmla="*/ 1151572 w 4139565"/>
                <a:gd name="connsiteY30" fmla="*/ 1234441 h 1616393"/>
                <a:gd name="connsiteX31" fmla="*/ 2056011 w 4139565"/>
                <a:gd name="connsiteY31" fmla="*/ 1132572 h 1616393"/>
                <a:gd name="connsiteX32" fmla="*/ 1102994 w 4139565"/>
                <a:gd name="connsiteY32" fmla="*/ 1240156 h 1616393"/>
                <a:gd name="connsiteX33" fmla="*/ 1102994 w 4139565"/>
                <a:gd name="connsiteY33" fmla="*/ 1193483 h 1616393"/>
                <a:gd name="connsiteX34" fmla="*/ 2056446 w 4139565"/>
                <a:gd name="connsiteY34" fmla="*/ 1060133 h 1616393"/>
                <a:gd name="connsiteX35" fmla="*/ 2426351 w 4139565"/>
                <a:gd name="connsiteY35" fmla="*/ 1088800 h 1616393"/>
                <a:gd name="connsiteX36" fmla="*/ 2425065 w 4139565"/>
                <a:gd name="connsiteY36" fmla="*/ 58103 h 1616393"/>
                <a:gd name="connsiteX37" fmla="*/ 2437446 w 4139565"/>
                <a:gd name="connsiteY37" fmla="*/ 0 h 1616393"/>
                <a:gd name="connsiteX38" fmla="*/ 2437447 w 4139565"/>
                <a:gd name="connsiteY38" fmla="*/ 0 h 1616393"/>
                <a:gd name="connsiteX39" fmla="*/ 2437447 w 4139565"/>
                <a:gd name="connsiteY39" fmla="*/ 1 h 1616393"/>
                <a:gd name="connsiteX40" fmla="*/ 4139564 w 4139565"/>
                <a:gd name="connsiteY40" fmla="*/ 742950 h 1616393"/>
                <a:gd name="connsiteX41" fmla="*/ 4139564 w 4139565"/>
                <a:gd name="connsiteY41" fmla="*/ 1451610 h 1616393"/>
                <a:gd name="connsiteX42" fmla="*/ 4139565 w 4139565"/>
                <a:gd name="connsiteY42" fmla="*/ 1451610 h 1616393"/>
                <a:gd name="connsiteX43" fmla="*/ 4139565 w 4139565"/>
                <a:gd name="connsiteY43" fmla="*/ 1616393 h 1616393"/>
                <a:gd name="connsiteX44" fmla="*/ 0 w 4139565"/>
                <a:gd name="connsiteY44" fmla="*/ 1616393 h 1616393"/>
                <a:gd name="connsiteX45" fmla="*/ 0 w 4139565"/>
                <a:gd name="connsiteY45" fmla="*/ 1451610 h 1616393"/>
                <a:gd name="connsiteX46" fmla="*/ 0 w 4139565"/>
                <a:gd name="connsiteY46" fmla="*/ 926806 h 1616393"/>
                <a:gd name="connsiteX47" fmla="*/ 2437446 w 4139565"/>
                <a:gd name="connsiteY47" fmla="*/ 1 h 1616393"/>
                <a:gd name="connsiteX48" fmla="*/ 2437446 w 4139565"/>
                <a:gd name="connsiteY48" fmla="*/ 0 h 1616393"/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1245869 w 4139565"/>
                <a:gd name="connsiteY4" fmla="*/ 1240156 h 1616393"/>
                <a:gd name="connsiteX5" fmla="*/ 2056446 w 4139565"/>
                <a:gd name="connsiteY5" fmla="*/ 1197984 h 1616393"/>
                <a:gd name="connsiteX6" fmla="*/ 1989772 w 4139565"/>
                <a:gd name="connsiteY6" fmla="*/ 1203772 h 1616393"/>
                <a:gd name="connsiteX7" fmla="*/ 1989772 w 4139565"/>
                <a:gd name="connsiteY7" fmla="*/ 1584090 h 1616393"/>
                <a:gd name="connsiteX8" fmla="*/ 2056446 w 4139565"/>
                <a:gd name="connsiteY8" fmla="*/ 1584223 h 1616393"/>
                <a:gd name="connsiteX9" fmla="*/ 2056446 w 4139565"/>
                <a:gd name="connsiteY9" fmla="*/ 1197984 h 1616393"/>
                <a:gd name="connsiteX10" fmla="*/ 2426447 w 4139565"/>
                <a:gd name="connsiteY10" fmla="*/ 1165863 h 1616393"/>
                <a:gd name="connsiteX11" fmla="*/ 2199321 w 4139565"/>
                <a:gd name="connsiteY11" fmla="*/ 1185581 h 1616393"/>
                <a:gd name="connsiteX12" fmla="*/ 2199321 w 4139565"/>
                <a:gd name="connsiteY12" fmla="*/ 1584507 h 1616393"/>
                <a:gd name="connsiteX13" fmla="*/ 2426970 w 4139565"/>
                <a:gd name="connsiteY13" fmla="*/ 1584960 h 1616393"/>
                <a:gd name="connsiteX14" fmla="*/ 2426447 w 4139565"/>
                <a:gd name="connsiteY14" fmla="*/ 1165863 h 1616393"/>
                <a:gd name="connsiteX15" fmla="*/ 2199321 w 4139565"/>
                <a:gd name="connsiteY15" fmla="*/ 1144667 h 1616393"/>
                <a:gd name="connsiteX16" fmla="*/ 2199321 w 4139565"/>
                <a:gd name="connsiteY16" fmla="*/ 1144667 h 1616393"/>
                <a:gd name="connsiteX17" fmla="*/ 2386186 w 4139565"/>
                <a:gd name="connsiteY17" fmla="*/ 1160551 h 1616393"/>
                <a:gd name="connsiteX18" fmla="*/ 2199321 w 4139565"/>
                <a:gd name="connsiteY18" fmla="*/ 1144667 h 1616393"/>
                <a:gd name="connsiteX19" fmla="*/ 2425065 w 4139565"/>
                <a:gd name="connsiteY19" fmla="*/ 204091 h 1616393"/>
                <a:gd name="connsiteX20" fmla="*/ 34289 w 4139565"/>
                <a:gd name="connsiteY20" fmla="*/ 950505 h 1616393"/>
                <a:gd name="connsiteX21" fmla="*/ 34290 w 4139565"/>
                <a:gd name="connsiteY21" fmla="*/ 1580198 h 1616393"/>
                <a:gd name="connsiteX22" fmla="*/ 1102994 w 4139565"/>
                <a:gd name="connsiteY22" fmla="*/ 1582325 h 1616393"/>
                <a:gd name="connsiteX23" fmla="*/ 1102994 w 4139565"/>
                <a:gd name="connsiteY23" fmla="*/ 1240156 h 1616393"/>
                <a:gd name="connsiteX24" fmla="*/ 2056446 w 4139565"/>
                <a:gd name="connsiteY24" fmla="*/ 1132523 h 1616393"/>
                <a:gd name="connsiteX25" fmla="*/ 2120328 w 4139565"/>
                <a:gd name="connsiteY25" fmla="*/ 1137953 h 1616393"/>
                <a:gd name="connsiteX26" fmla="*/ 2056447 w 4139565"/>
                <a:gd name="connsiteY26" fmla="*/ 1132523 h 1616393"/>
                <a:gd name="connsiteX27" fmla="*/ 2056447 w 4139565"/>
                <a:gd name="connsiteY27" fmla="*/ 1100138 h 1616393"/>
                <a:gd name="connsiteX28" fmla="*/ 2056446 w 4139565"/>
                <a:gd name="connsiteY28" fmla="*/ 1100138 h 1616393"/>
                <a:gd name="connsiteX29" fmla="*/ 1151572 w 4139565"/>
                <a:gd name="connsiteY29" fmla="*/ 1216343 h 1616393"/>
                <a:gd name="connsiteX30" fmla="*/ 1151572 w 4139565"/>
                <a:gd name="connsiteY30" fmla="*/ 1234441 h 1616393"/>
                <a:gd name="connsiteX31" fmla="*/ 2056011 w 4139565"/>
                <a:gd name="connsiteY31" fmla="*/ 1132572 h 1616393"/>
                <a:gd name="connsiteX32" fmla="*/ 1102994 w 4139565"/>
                <a:gd name="connsiteY32" fmla="*/ 1240156 h 1616393"/>
                <a:gd name="connsiteX33" fmla="*/ 1102994 w 4139565"/>
                <a:gd name="connsiteY33" fmla="*/ 1193483 h 1616393"/>
                <a:gd name="connsiteX34" fmla="*/ 2056446 w 4139565"/>
                <a:gd name="connsiteY34" fmla="*/ 1060133 h 1616393"/>
                <a:gd name="connsiteX35" fmla="*/ 2426351 w 4139565"/>
                <a:gd name="connsiteY35" fmla="*/ 1088800 h 1616393"/>
                <a:gd name="connsiteX36" fmla="*/ 2425065 w 4139565"/>
                <a:gd name="connsiteY36" fmla="*/ 204091 h 1616393"/>
                <a:gd name="connsiteX37" fmla="*/ 2437446 w 4139565"/>
                <a:gd name="connsiteY37" fmla="*/ 0 h 1616393"/>
                <a:gd name="connsiteX38" fmla="*/ 2437447 w 4139565"/>
                <a:gd name="connsiteY38" fmla="*/ 0 h 1616393"/>
                <a:gd name="connsiteX39" fmla="*/ 2437447 w 4139565"/>
                <a:gd name="connsiteY39" fmla="*/ 1 h 1616393"/>
                <a:gd name="connsiteX40" fmla="*/ 4139564 w 4139565"/>
                <a:gd name="connsiteY40" fmla="*/ 742950 h 1616393"/>
                <a:gd name="connsiteX41" fmla="*/ 4139564 w 4139565"/>
                <a:gd name="connsiteY41" fmla="*/ 1451610 h 1616393"/>
                <a:gd name="connsiteX42" fmla="*/ 4139565 w 4139565"/>
                <a:gd name="connsiteY42" fmla="*/ 1451610 h 1616393"/>
                <a:gd name="connsiteX43" fmla="*/ 4139565 w 4139565"/>
                <a:gd name="connsiteY43" fmla="*/ 1616393 h 1616393"/>
                <a:gd name="connsiteX44" fmla="*/ 0 w 4139565"/>
                <a:gd name="connsiteY44" fmla="*/ 1616393 h 1616393"/>
                <a:gd name="connsiteX45" fmla="*/ 0 w 4139565"/>
                <a:gd name="connsiteY45" fmla="*/ 1451610 h 1616393"/>
                <a:gd name="connsiteX46" fmla="*/ 0 w 4139565"/>
                <a:gd name="connsiteY46" fmla="*/ 926806 h 1616393"/>
                <a:gd name="connsiteX47" fmla="*/ 2437446 w 4139565"/>
                <a:gd name="connsiteY47" fmla="*/ 1 h 1616393"/>
                <a:gd name="connsiteX48" fmla="*/ 2437446 w 4139565"/>
                <a:gd name="connsiteY48" fmla="*/ 0 h 1616393"/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1245869 w 4139565"/>
                <a:gd name="connsiteY4" fmla="*/ 1240156 h 1616393"/>
                <a:gd name="connsiteX5" fmla="*/ 2056446 w 4139565"/>
                <a:gd name="connsiteY5" fmla="*/ 1197984 h 1616393"/>
                <a:gd name="connsiteX6" fmla="*/ 1989772 w 4139565"/>
                <a:gd name="connsiteY6" fmla="*/ 1203772 h 1616393"/>
                <a:gd name="connsiteX7" fmla="*/ 1989772 w 4139565"/>
                <a:gd name="connsiteY7" fmla="*/ 1584090 h 1616393"/>
                <a:gd name="connsiteX8" fmla="*/ 2056446 w 4139565"/>
                <a:gd name="connsiteY8" fmla="*/ 1584223 h 1616393"/>
                <a:gd name="connsiteX9" fmla="*/ 2056446 w 4139565"/>
                <a:gd name="connsiteY9" fmla="*/ 1197984 h 1616393"/>
                <a:gd name="connsiteX10" fmla="*/ 2426447 w 4139565"/>
                <a:gd name="connsiteY10" fmla="*/ 1165863 h 1616393"/>
                <a:gd name="connsiteX11" fmla="*/ 2199321 w 4139565"/>
                <a:gd name="connsiteY11" fmla="*/ 1185581 h 1616393"/>
                <a:gd name="connsiteX12" fmla="*/ 2199321 w 4139565"/>
                <a:gd name="connsiteY12" fmla="*/ 1584507 h 1616393"/>
                <a:gd name="connsiteX13" fmla="*/ 2426970 w 4139565"/>
                <a:gd name="connsiteY13" fmla="*/ 1584960 h 1616393"/>
                <a:gd name="connsiteX14" fmla="*/ 2426447 w 4139565"/>
                <a:gd name="connsiteY14" fmla="*/ 1165863 h 1616393"/>
                <a:gd name="connsiteX15" fmla="*/ 2199321 w 4139565"/>
                <a:gd name="connsiteY15" fmla="*/ 1144667 h 1616393"/>
                <a:gd name="connsiteX16" fmla="*/ 2199321 w 4139565"/>
                <a:gd name="connsiteY16" fmla="*/ 1144667 h 1616393"/>
                <a:gd name="connsiteX17" fmla="*/ 2386186 w 4139565"/>
                <a:gd name="connsiteY17" fmla="*/ 1160551 h 1616393"/>
                <a:gd name="connsiteX18" fmla="*/ 2199321 w 4139565"/>
                <a:gd name="connsiteY18" fmla="*/ 1144667 h 1616393"/>
                <a:gd name="connsiteX19" fmla="*/ 2425065 w 4139565"/>
                <a:gd name="connsiteY19" fmla="*/ 204091 h 1616393"/>
                <a:gd name="connsiteX20" fmla="*/ 34289 w 4139565"/>
                <a:gd name="connsiteY20" fmla="*/ 950505 h 1616393"/>
                <a:gd name="connsiteX21" fmla="*/ 34290 w 4139565"/>
                <a:gd name="connsiteY21" fmla="*/ 1580198 h 1616393"/>
                <a:gd name="connsiteX22" fmla="*/ 1102994 w 4139565"/>
                <a:gd name="connsiteY22" fmla="*/ 1582325 h 1616393"/>
                <a:gd name="connsiteX23" fmla="*/ 1102994 w 4139565"/>
                <a:gd name="connsiteY23" fmla="*/ 1240156 h 1616393"/>
                <a:gd name="connsiteX24" fmla="*/ 2056446 w 4139565"/>
                <a:gd name="connsiteY24" fmla="*/ 1132523 h 1616393"/>
                <a:gd name="connsiteX25" fmla="*/ 2120328 w 4139565"/>
                <a:gd name="connsiteY25" fmla="*/ 1137953 h 1616393"/>
                <a:gd name="connsiteX26" fmla="*/ 2056447 w 4139565"/>
                <a:gd name="connsiteY26" fmla="*/ 1132523 h 1616393"/>
                <a:gd name="connsiteX27" fmla="*/ 2056447 w 4139565"/>
                <a:gd name="connsiteY27" fmla="*/ 1100138 h 1616393"/>
                <a:gd name="connsiteX28" fmla="*/ 2056446 w 4139565"/>
                <a:gd name="connsiteY28" fmla="*/ 1100138 h 1616393"/>
                <a:gd name="connsiteX29" fmla="*/ 1151572 w 4139565"/>
                <a:gd name="connsiteY29" fmla="*/ 1216343 h 1616393"/>
                <a:gd name="connsiteX30" fmla="*/ 1151572 w 4139565"/>
                <a:gd name="connsiteY30" fmla="*/ 1234441 h 1616393"/>
                <a:gd name="connsiteX31" fmla="*/ 2056011 w 4139565"/>
                <a:gd name="connsiteY31" fmla="*/ 1132572 h 1616393"/>
                <a:gd name="connsiteX32" fmla="*/ 1102994 w 4139565"/>
                <a:gd name="connsiteY32" fmla="*/ 1240156 h 1616393"/>
                <a:gd name="connsiteX33" fmla="*/ 1102994 w 4139565"/>
                <a:gd name="connsiteY33" fmla="*/ 1193483 h 1616393"/>
                <a:gd name="connsiteX34" fmla="*/ 2056446 w 4139565"/>
                <a:gd name="connsiteY34" fmla="*/ 1060133 h 1616393"/>
                <a:gd name="connsiteX35" fmla="*/ 2426351 w 4139565"/>
                <a:gd name="connsiteY35" fmla="*/ 1088800 h 1616393"/>
                <a:gd name="connsiteX36" fmla="*/ 2425065 w 4139565"/>
                <a:gd name="connsiteY36" fmla="*/ 204091 h 1616393"/>
                <a:gd name="connsiteX37" fmla="*/ 2437447 w 4139565"/>
                <a:gd name="connsiteY37" fmla="*/ 89214 h 1616393"/>
                <a:gd name="connsiteX38" fmla="*/ 2437447 w 4139565"/>
                <a:gd name="connsiteY38" fmla="*/ 0 h 1616393"/>
                <a:gd name="connsiteX39" fmla="*/ 2437447 w 4139565"/>
                <a:gd name="connsiteY39" fmla="*/ 1 h 1616393"/>
                <a:gd name="connsiteX40" fmla="*/ 4139564 w 4139565"/>
                <a:gd name="connsiteY40" fmla="*/ 742950 h 1616393"/>
                <a:gd name="connsiteX41" fmla="*/ 4139564 w 4139565"/>
                <a:gd name="connsiteY41" fmla="*/ 1451610 h 1616393"/>
                <a:gd name="connsiteX42" fmla="*/ 4139565 w 4139565"/>
                <a:gd name="connsiteY42" fmla="*/ 1451610 h 1616393"/>
                <a:gd name="connsiteX43" fmla="*/ 4139565 w 4139565"/>
                <a:gd name="connsiteY43" fmla="*/ 1616393 h 1616393"/>
                <a:gd name="connsiteX44" fmla="*/ 0 w 4139565"/>
                <a:gd name="connsiteY44" fmla="*/ 1616393 h 1616393"/>
                <a:gd name="connsiteX45" fmla="*/ 0 w 4139565"/>
                <a:gd name="connsiteY45" fmla="*/ 1451610 h 1616393"/>
                <a:gd name="connsiteX46" fmla="*/ 0 w 4139565"/>
                <a:gd name="connsiteY46" fmla="*/ 926806 h 1616393"/>
                <a:gd name="connsiteX47" fmla="*/ 2437446 w 4139565"/>
                <a:gd name="connsiteY47" fmla="*/ 1 h 1616393"/>
                <a:gd name="connsiteX48" fmla="*/ 2437447 w 4139565"/>
                <a:gd name="connsiteY48" fmla="*/ 89214 h 1616393"/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1245869 w 4139565"/>
                <a:gd name="connsiteY4" fmla="*/ 1240156 h 1616393"/>
                <a:gd name="connsiteX5" fmla="*/ 2056446 w 4139565"/>
                <a:gd name="connsiteY5" fmla="*/ 1197984 h 1616393"/>
                <a:gd name="connsiteX6" fmla="*/ 1989772 w 4139565"/>
                <a:gd name="connsiteY6" fmla="*/ 1203772 h 1616393"/>
                <a:gd name="connsiteX7" fmla="*/ 1989772 w 4139565"/>
                <a:gd name="connsiteY7" fmla="*/ 1584090 h 1616393"/>
                <a:gd name="connsiteX8" fmla="*/ 2056446 w 4139565"/>
                <a:gd name="connsiteY8" fmla="*/ 1584223 h 1616393"/>
                <a:gd name="connsiteX9" fmla="*/ 2056446 w 4139565"/>
                <a:gd name="connsiteY9" fmla="*/ 1197984 h 1616393"/>
                <a:gd name="connsiteX10" fmla="*/ 2426447 w 4139565"/>
                <a:gd name="connsiteY10" fmla="*/ 1165863 h 1616393"/>
                <a:gd name="connsiteX11" fmla="*/ 2199321 w 4139565"/>
                <a:gd name="connsiteY11" fmla="*/ 1185581 h 1616393"/>
                <a:gd name="connsiteX12" fmla="*/ 2199321 w 4139565"/>
                <a:gd name="connsiteY12" fmla="*/ 1584507 h 1616393"/>
                <a:gd name="connsiteX13" fmla="*/ 2426970 w 4139565"/>
                <a:gd name="connsiteY13" fmla="*/ 1584960 h 1616393"/>
                <a:gd name="connsiteX14" fmla="*/ 2426447 w 4139565"/>
                <a:gd name="connsiteY14" fmla="*/ 1165863 h 1616393"/>
                <a:gd name="connsiteX15" fmla="*/ 2199321 w 4139565"/>
                <a:gd name="connsiteY15" fmla="*/ 1144667 h 1616393"/>
                <a:gd name="connsiteX16" fmla="*/ 2199321 w 4139565"/>
                <a:gd name="connsiteY16" fmla="*/ 1144667 h 1616393"/>
                <a:gd name="connsiteX17" fmla="*/ 2386186 w 4139565"/>
                <a:gd name="connsiteY17" fmla="*/ 1160551 h 1616393"/>
                <a:gd name="connsiteX18" fmla="*/ 2199321 w 4139565"/>
                <a:gd name="connsiteY18" fmla="*/ 1144667 h 1616393"/>
                <a:gd name="connsiteX19" fmla="*/ 2425065 w 4139565"/>
                <a:gd name="connsiteY19" fmla="*/ 204091 h 1616393"/>
                <a:gd name="connsiteX20" fmla="*/ 34289 w 4139565"/>
                <a:gd name="connsiteY20" fmla="*/ 950505 h 1616393"/>
                <a:gd name="connsiteX21" fmla="*/ 34290 w 4139565"/>
                <a:gd name="connsiteY21" fmla="*/ 1580198 h 1616393"/>
                <a:gd name="connsiteX22" fmla="*/ 1102994 w 4139565"/>
                <a:gd name="connsiteY22" fmla="*/ 1582325 h 1616393"/>
                <a:gd name="connsiteX23" fmla="*/ 1102994 w 4139565"/>
                <a:gd name="connsiteY23" fmla="*/ 1240156 h 1616393"/>
                <a:gd name="connsiteX24" fmla="*/ 2056446 w 4139565"/>
                <a:gd name="connsiteY24" fmla="*/ 1132523 h 1616393"/>
                <a:gd name="connsiteX25" fmla="*/ 2120328 w 4139565"/>
                <a:gd name="connsiteY25" fmla="*/ 1137953 h 1616393"/>
                <a:gd name="connsiteX26" fmla="*/ 2056447 w 4139565"/>
                <a:gd name="connsiteY26" fmla="*/ 1132523 h 1616393"/>
                <a:gd name="connsiteX27" fmla="*/ 2056447 w 4139565"/>
                <a:gd name="connsiteY27" fmla="*/ 1100138 h 1616393"/>
                <a:gd name="connsiteX28" fmla="*/ 2056446 w 4139565"/>
                <a:gd name="connsiteY28" fmla="*/ 1100138 h 1616393"/>
                <a:gd name="connsiteX29" fmla="*/ 1151572 w 4139565"/>
                <a:gd name="connsiteY29" fmla="*/ 1216343 h 1616393"/>
                <a:gd name="connsiteX30" fmla="*/ 1151572 w 4139565"/>
                <a:gd name="connsiteY30" fmla="*/ 1234441 h 1616393"/>
                <a:gd name="connsiteX31" fmla="*/ 2056011 w 4139565"/>
                <a:gd name="connsiteY31" fmla="*/ 1132572 h 1616393"/>
                <a:gd name="connsiteX32" fmla="*/ 1102994 w 4139565"/>
                <a:gd name="connsiteY32" fmla="*/ 1240156 h 1616393"/>
                <a:gd name="connsiteX33" fmla="*/ 1102994 w 4139565"/>
                <a:gd name="connsiteY33" fmla="*/ 1193483 h 1616393"/>
                <a:gd name="connsiteX34" fmla="*/ 2056446 w 4139565"/>
                <a:gd name="connsiteY34" fmla="*/ 1060133 h 1616393"/>
                <a:gd name="connsiteX35" fmla="*/ 2426351 w 4139565"/>
                <a:gd name="connsiteY35" fmla="*/ 1088800 h 1616393"/>
                <a:gd name="connsiteX36" fmla="*/ 2425065 w 4139565"/>
                <a:gd name="connsiteY36" fmla="*/ 204091 h 1616393"/>
                <a:gd name="connsiteX37" fmla="*/ 2437447 w 4139565"/>
                <a:gd name="connsiteY37" fmla="*/ 170318 h 1616393"/>
                <a:gd name="connsiteX38" fmla="*/ 2437447 w 4139565"/>
                <a:gd name="connsiteY38" fmla="*/ 0 h 1616393"/>
                <a:gd name="connsiteX39" fmla="*/ 2437447 w 4139565"/>
                <a:gd name="connsiteY39" fmla="*/ 1 h 1616393"/>
                <a:gd name="connsiteX40" fmla="*/ 4139564 w 4139565"/>
                <a:gd name="connsiteY40" fmla="*/ 742950 h 1616393"/>
                <a:gd name="connsiteX41" fmla="*/ 4139564 w 4139565"/>
                <a:gd name="connsiteY41" fmla="*/ 1451610 h 1616393"/>
                <a:gd name="connsiteX42" fmla="*/ 4139565 w 4139565"/>
                <a:gd name="connsiteY42" fmla="*/ 1451610 h 1616393"/>
                <a:gd name="connsiteX43" fmla="*/ 4139565 w 4139565"/>
                <a:gd name="connsiteY43" fmla="*/ 1616393 h 1616393"/>
                <a:gd name="connsiteX44" fmla="*/ 0 w 4139565"/>
                <a:gd name="connsiteY44" fmla="*/ 1616393 h 1616393"/>
                <a:gd name="connsiteX45" fmla="*/ 0 w 4139565"/>
                <a:gd name="connsiteY45" fmla="*/ 1451610 h 1616393"/>
                <a:gd name="connsiteX46" fmla="*/ 0 w 4139565"/>
                <a:gd name="connsiteY46" fmla="*/ 926806 h 1616393"/>
                <a:gd name="connsiteX47" fmla="*/ 2437446 w 4139565"/>
                <a:gd name="connsiteY47" fmla="*/ 1 h 1616393"/>
                <a:gd name="connsiteX48" fmla="*/ 2437447 w 4139565"/>
                <a:gd name="connsiteY48" fmla="*/ 170318 h 1616393"/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1245869 w 4139565"/>
                <a:gd name="connsiteY4" fmla="*/ 1240156 h 1616393"/>
                <a:gd name="connsiteX5" fmla="*/ 2056446 w 4139565"/>
                <a:gd name="connsiteY5" fmla="*/ 1197984 h 1616393"/>
                <a:gd name="connsiteX6" fmla="*/ 1989772 w 4139565"/>
                <a:gd name="connsiteY6" fmla="*/ 1203772 h 1616393"/>
                <a:gd name="connsiteX7" fmla="*/ 1989772 w 4139565"/>
                <a:gd name="connsiteY7" fmla="*/ 1584090 h 1616393"/>
                <a:gd name="connsiteX8" fmla="*/ 2056446 w 4139565"/>
                <a:gd name="connsiteY8" fmla="*/ 1584223 h 1616393"/>
                <a:gd name="connsiteX9" fmla="*/ 2056446 w 4139565"/>
                <a:gd name="connsiteY9" fmla="*/ 1197984 h 1616393"/>
                <a:gd name="connsiteX10" fmla="*/ 2426447 w 4139565"/>
                <a:gd name="connsiteY10" fmla="*/ 1165863 h 1616393"/>
                <a:gd name="connsiteX11" fmla="*/ 2199321 w 4139565"/>
                <a:gd name="connsiteY11" fmla="*/ 1185581 h 1616393"/>
                <a:gd name="connsiteX12" fmla="*/ 2199321 w 4139565"/>
                <a:gd name="connsiteY12" fmla="*/ 1584507 h 1616393"/>
                <a:gd name="connsiteX13" fmla="*/ 2426970 w 4139565"/>
                <a:gd name="connsiteY13" fmla="*/ 1584960 h 1616393"/>
                <a:gd name="connsiteX14" fmla="*/ 2426447 w 4139565"/>
                <a:gd name="connsiteY14" fmla="*/ 1165863 h 1616393"/>
                <a:gd name="connsiteX15" fmla="*/ 2199321 w 4139565"/>
                <a:gd name="connsiteY15" fmla="*/ 1144667 h 1616393"/>
                <a:gd name="connsiteX16" fmla="*/ 2199321 w 4139565"/>
                <a:gd name="connsiteY16" fmla="*/ 1144667 h 1616393"/>
                <a:gd name="connsiteX17" fmla="*/ 2386186 w 4139565"/>
                <a:gd name="connsiteY17" fmla="*/ 1160551 h 1616393"/>
                <a:gd name="connsiteX18" fmla="*/ 2199321 w 4139565"/>
                <a:gd name="connsiteY18" fmla="*/ 1144667 h 1616393"/>
                <a:gd name="connsiteX19" fmla="*/ 2425065 w 4139565"/>
                <a:gd name="connsiteY19" fmla="*/ 204091 h 1616393"/>
                <a:gd name="connsiteX20" fmla="*/ 34289 w 4139565"/>
                <a:gd name="connsiteY20" fmla="*/ 950505 h 1616393"/>
                <a:gd name="connsiteX21" fmla="*/ 34290 w 4139565"/>
                <a:gd name="connsiteY21" fmla="*/ 1580198 h 1616393"/>
                <a:gd name="connsiteX22" fmla="*/ 1102994 w 4139565"/>
                <a:gd name="connsiteY22" fmla="*/ 1582325 h 1616393"/>
                <a:gd name="connsiteX23" fmla="*/ 1102994 w 4139565"/>
                <a:gd name="connsiteY23" fmla="*/ 1240156 h 1616393"/>
                <a:gd name="connsiteX24" fmla="*/ 2056446 w 4139565"/>
                <a:gd name="connsiteY24" fmla="*/ 1132523 h 1616393"/>
                <a:gd name="connsiteX25" fmla="*/ 2120328 w 4139565"/>
                <a:gd name="connsiteY25" fmla="*/ 1137953 h 1616393"/>
                <a:gd name="connsiteX26" fmla="*/ 2056447 w 4139565"/>
                <a:gd name="connsiteY26" fmla="*/ 1132523 h 1616393"/>
                <a:gd name="connsiteX27" fmla="*/ 2056447 w 4139565"/>
                <a:gd name="connsiteY27" fmla="*/ 1100138 h 1616393"/>
                <a:gd name="connsiteX28" fmla="*/ 2056446 w 4139565"/>
                <a:gd name="connsiteY28" fmla="*/ 1100138 h 1616393"/>
                <a:gd name="connsiteX29" fmla="*/ 1151572 w 4139565"/>
                <a:gd name="connsiteY29" fmla="*/ 1216343 h 1616393"/>
                <a:gd name="connsiteX30" fmla="*/ 1151572 w 4139565"/>
                <a:gd name="connsiteY30" fmla="*/ 1234441 h 1616393"/>
                <a:gd name="connsiteX31" fmla="*/ 2056011 w 4139565"/>
                <a:gd name="connsiteY31" fmla="*/ 1132572 h 1616393"/>
                <a:gd name="connsiteX32" fmla="*/ 1102994 w 4139565"/>
                <a:gd name="connsiteY32" fmla="*/ 1240156 h 1616393"/>
                <a:gd name="connsiteX33" fmla="*/ 1102994 w 4139565"/>
                <a:gd name="connsiteY33" fmla="*/ 1193483 h 1616393"/>
                <a:gd name="connsiteX34" fmla="*/ 2056446 w 4139565"/>
                <a:gd name="connsiteY34" fmla="*/ 1060133 h 1616393"/>
                <a:gd name="connsiteX35" fmla="*/ 2426351 w 4139565"/>
                <a:gd name="connsiteY35" fmla="*/ 1088800 h 1616393"/>
                <a:gd name="connsiteX36" fmla="*/ 2425065 w 4139565"/>
                <a:gd name="connsiteY36" fmla="*/ 204091 h 1616393"/>
                <a:gd name="connsiteX37" fmla="*/ 2437447 w 4139565"/>
                <a:gd name="connsiteY37" fmla="*/ 170318 h 1616393"/>
                <a:gd name="connsiteX38" fmla="*/ 2437447 w 4139565"/>
                <a:gd name="connsiteY38" fmla="*/ 0 h 1616393"/>
                <a:gd name="connsiteX39" fmla="*/ 2437447 w 4139565"/>
                <a:gd name="connsiteY39" fmla="*/ 1 h 1616393"/>
                <a:gd name="connsiteX40" fmla="*/ 4139564 w 4139565"/>
                <a:gd name="connsiteY40" fmla="*/ 742950 h 1616393"/>
                <a:gd name="connsiteX41" fmla="*/ 4139564 w 4139565"/>
                <a:gd name="connsiteY41" fmla="*/ 1451610 h 1616393"/>
                <a:gd name="connsiteX42" fmla="*/ 4139565 w 4139565"/>
                <a:gd name="connsiteY42" fmla="*/ 1451610 h 1616393"/>
                <a:gd name="connsiteX43" fmla="*/ 4139565 w 4139565"/>
                <a:gd name="connsiteY43" fmla="*/ 1616393 h 1616393"/>
                <a:gd name="connsiteX44" fmla="*/ 0 w 4139565"/>
                <a:gd name="connsiteY44" fmla="*/ 1616393 h 1616393"/>
                <a:gd name="connsiteX45" fmla="*/ 0 w 4139565"/>
                <a:gd name="connsiteY45" fmla="*/ 1451610 h 1616393"/>
                <a:gd name="connsiteX46" fmla="*/ 0 w 4139565"/>
                <a:gd name="connsiteY46" fmla="*/ 926806 h 1616393"/>
                <a:gd name="connsiteX47" fmla="*/ 2437447 w 4139565"/>
                <a:gd name="connsiteY47" fmla="*/ 121656 h 1616393"/>
                <a:gd name="connsiteX48" fmla="*/ 2437447 w 4139565"/>
                <a:gd name="connsiteY48" fmla="*/ 170318 h 1616393"/>
                <a:gd name="connsiteX0" fmla="*/ 1245869 w 4139565"/>
                <a:gd name="connsiteY0" fmla="*/ 1240156 h 1616393"/>
                <a:gd name="connsiteX1" fmla="*/ 1245869 w 4139565"/>
                <a:gd name="connsiteY1" fmla="*/ 1582609 h 1616393"/>
                <a:gd name="connsiteX2" fmla="*/ 1570672 w 4139565"/>
                <a:gd name="connsiteY2" fmla="*/ 1583256 h 1616393"/>
                <a:gd name="connsiteX3" fmla="*/ 1570672 w 4139565"/>
                <a:gd name="connsiteY3" fmla="*/ 1240156 h 1616393"/>
                <a:gd name="connsiteX4" fmla="*/ 1245869 w 4139565"/>
                <a:gd name="connsiteY4" fmla="*/ 1240156 h 1616393"/>
                <a:gd name="connsiteX5" fmla="*/ 2056446 w 4139565"/>
                <a:gd name="connsiteY5" fmla="*/ 1197984 h 1616393"/>
                <a:gd name="connsiteX6" fmla="*/ 1989772 w 4139565"/>
                <a:gd name="connsiteY6" fmla="*/ 1203772 h 1616393"/>
                <a:gd name="connsiteX7" fmla="*/ 1989772 w 4139565"/>
                <a:gd name="connsiteY7" fmla="*/ 1584090 h 1616393"/>
                <a:gd name="connsiteX8" fmla="*/ 2056446 w 4139565"/>
                <a:gd name="connsiteY8" fmla="*/ 1584223 h 1616393"/>
                <a:gd name="connsiteX9" fmla="*/ 2056446 w 4139565"/>
                <a:gd name="connsiteY9" fmla="*/ 1197984 h 1616393"/>
                <a:gd name="connsiteX10" fmla="*/ 2426447 w 4139565"/>
                <a:gd name="connsiteY10" fmla="*/ 1165863 h 1616393"/>
                <a:gd name="connsiteX11" fmla="*/ 2199321 w 4139565"/>
                <a:gd name="connsiteY11" fmla="*/ 1185581 h 1616393"/>
                <a:gd name="connsiteX12" fmla="*/ 2199321 w 4139565"/>
                <a:gd name="connsiteY12" fmla="*/ 1584507 h 1616393"/>
                <a:gd name="connsiteX13" fmla="*/ 2426970 w 4139565"/>
                <a:gd name="connsiteY13" fmla="*/ 1584960 h 1616393"/>
                <a:gd name="connsiteX14" fmla="*/ 2426447 w 4139565"/>
                <a:gd name="connsiteY14" fmla="*/ 1165863 h 1616393"/>
                <a:gd name="connsiteX15" fmla="*/ 2199321 w 4139565"/>
                <a:gd name="connsiteY15" fmla="*/ 1144667 h 1616393"/>
                <a:gd name="connsiteX16" fmla="*/ 2199321 w 4139565"/>
                <a:gd name="connsiteY16" fmla="*/ 1144667 h 1616393"/>
                <a:gd name="connsiteX17" fmla="*/ 2386186 w 4139565"/>
                <a:gd name="connsiteY17" fmla="*/ 1160551 h 1616393"/>
                <a:gd name="connsiteX18" fmla="*/ 2199321 w 4139565"/>
                <a:gd name="connsiteY18" fmla="*/ 1144667 h 1616393"/>
                <a:gd name="connsiteX19" fmla="*/ 2425065 w 4139565"/>
                <a:gd name="connsiteY19" fmla="*/ 204091 h 1616393"/>
                <a:gd name="connsiteX20" fmla="*/ 34289 w 4139565"/>
                <a:gd name="connsiteY20" fmla="*/ 950505 h 1616393"/>
                <a:gd name="connsiteX21" fmla="*/ 34290 w 4139565"/>
                <a:gd name="connsiteY21" fmla="*/ 1580198 h 1616393"/>
                <a:gd name="connsiteX22" fmla="*/ 1102994 w 4139565"/>
                <a:gd name="connsiteY22" fmla="*/ 1582325 h 1616393"/>
                <a:gd name="connsiteX23" fmla="*/ 1102994 w 4139565"/>
                <a:gd name="connsiteY23" fmla="*/ 1240156 h 1616393"/>
                <a:gd name="connsiteX24" fmla="*/ 2056446 w 4139565"/>
                <a:gd name="connsiteY24" fmla="*/ 1132523 h 1616393"/>
                <a:gd name="connsiteX25" fmla="*/ 2120328 w 4139565"/>
                <a:gd name="connsiteY25" fmla="*/ 1137953 h 1616393"/>
                <a:gd name="connsiteX26" fmla="*/ 2056447 w 4139565"/>
                <a:gd name="connsiteY26" fmla="*/ 1132523 h 1616393"/>
                <a:gd name="connsiteX27" fmla="*/ 2056447 w 4139565"/>
                <a:gd name="connsiteY27" fmla="*/ 1100138 h 1616393"/>
                <a:gd name="connsiteX28" fmla="*/ 2056446 w 4139565"/>
                <a:gd name="connsiteY28" fmla="*/ 1100138 h 1616393"/>
                <a:gd name="connsiteX29" fmla="*/ 1151572 w 4139565"/>
                <a:gd name="connsiteY29" fmla="*/ 1216343 h 1616393"/>
                <a:gd name="connsiteX30" fmla="*/ 1151572 w 4139565"/>
                <a:gd name="connsiteY30" fmla="*/ 1234441 h 1616393"/>
                <a:gd name="connsiteX31" fmla="*/ 2056011 w 4139565"/>
                <a:gd name="connsiteY31" fmla="*/ 1132572 h 1616393"/>
                <a:gd name="connsiteX32" fmla="*/ 1102994 w 4139565"/>
                <a:gd name="connsiteY32" fmla="*/ 1240156 h 1616393"/>
                <a:gd name="connsiteX33" fmla="*/ 1102994 w 4139565"/>
                <a:gd name="connsiteY33" fmla="*/ 1193483 h 1616393"/>
                <a:gd name="connsiteX34" fmla="*/ 2056446 w 4139565"/>
                <a:gd name="connsiteY34" fmla="*/ 1060133 h 1616393"/>
                <a:gd name="connsiteX35" fmla="*/ 2426351 w 4139565"/>
                <a:gd name="connsiteY35" fmla="*/ 1088800 h 1616393"/>
                <a:gd name="connsiteX36" fmla="*/ 2425065 w 4139565"/>
                <a:gd name="connsiteY36" fmla="*/ 204091 h 1616393"/>
                <a:gd name="connsiteX37" fmla="*/ 2437447 w 4139565"/>
                <a:gd name="connsiteY37" fmla="*/ 170318 h 1616393"/>
                <a:gd name="connsiteX38" fmla="*/ 2437447 w 4139565"/>
                <a:gd name="connsiteY38" fmla="*/ 0 h 1616393"/>
                <a:gd name="connsiteX39" fmla="*/ 2437447 w 4139565"/>
                <a:gd name="connsiteY39" fmla="*/ 121656 h 1616393"/>
                <a:gd name="connsiteX40" fmla="*/ 4139564 w 4139565"/>
                <a:gd name="connsiteY40" fmla="*/ 742950 h 1616393"/>
                <a:gd name="connsiteX41" fmla="*/ 4139564 w 4139565"/>
                <a:gd name="connsiteY41" fmla="*/ 1451610 h 1616393"/>
                <a:gd name="connsiteX42" fmla="*/ 4139565 w 4139565"/>
                <a:gd name="connsiteY42" fmla="*/ 1451610 h 1616393"/>
                <a:gd name="connsiteX43" fmla="*/ 4139565 w 4139565"/>
                <a:gd name="connsiteY43" fmla="*/ 1616393 h 1616393"/>
                <a:gd name="connsiteX44" fmla="*/ 0 w 4139565"/>
                <a:gd name="connsiteY44" fmla="*/ 1616393 h 1616393"/>
                <a:gd name="connsiteX45" fmla="*/ 0 w 4139565"/>
                <a:gd name="connsiteY45" fmla="*/ 1451610 h 1616393"/>
                <a:gd name="connsiteX46" fmla="*/ 0 w 4139565"/>
                <a:gd name="connsiteY46" fmla="*/ 926806 h 1616393"/>
                <a:gd name="connsiteX47" fmla="*/ 2437447 w 4139565"/>
                <a:gd name="connsiteY47" fmla="*/ 121656 h 1616393"/>
                <a:gd name="connsiteX48" fmla="*/ 2437447 w 4139565"/>
                <a:gd name="connsiteY48" fmla="*/ 170318 h 1616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139565" h="1616393">
                  <a:moveTo>
                    <a:pt x="1245869" y="1240156"/>
                  </a:moveTo>
                  <a:lnTo>
                    <a:pt x="1245869" y="1582609"/>
                  </a:lnTo>
                  <a:lnTo>
                    <a:pt x="1570672" y="1583256"/>
                  </a:lnTo>
                  <a:lnTo>
                    <a:pt x="1570672" y="1240156"/>
                  </a:lnTo>
                  <a:lnTo>
                    <a:pt x="1245869" y="1240156"/>
                  </a:lnTo>
                  <a:close/>
                  <a:moveTo>
                    <a:pt x="2056446" y="1197984"/>
                  </a:moveTo>
                  <a:lnTo>
                    <a:pt x="1989772" y="1203772"/>
                  </a:lnTo>
                  <a:lnTo>
                    <a:pt x="1989772" y="1584090"/>
                  </a:lnTo>
                  <a:lnTo>
                    <a:pt x="2056446" y="1584223"/>
                  </a:lnTo>
                  <a:lnTo>
                    <a:pt x="2056446" y="1197984"/>
                  </a:lnTo>
                  <a:close/>
                  <a:moveTo>
                    <a:pt x="2426447" y="1165863"/>
                  </a:moveTo>
                  <a:lnTo>
                    <a:pt x="2199321" y="1185581"/>
                  </a:lnTo>
                  <a:lnTo>
                    <a:pt x="2199321" y="1584507"/>
                  </a:lnTo>
                  <a:lnTo>
                    <a:pt x="2426970" y="1584960"/>
                  </a:lnTo>
                  <a:cubicBezTo>
                    <a:pt x="2426796" y="1445261"/>
                    <a:pt x="2426621" y="1305562"/>
                    <a:pt x="2426447" y="1165863"/>
                  </a:cubicBezTo>
                  <a:close/>
                  <a:moveTo>
                    <a:pt x="2199321" y="1144667"/>
                  </a:moveTo>
                  <a:lnTo>
                    <a:pt x="2199321" y="1144667"/>
                  </a:lnTo>
                  <a:lnTo>
                    <a:pt x="2386186" y="1160551"/>
                  </a:lnTo>
                  <a:lnTo>
                    <a:pt x="2199321" y="1144667"/>
                  </a:lnTo>
                  <a:close/>
                  <a:moveTo>
                    <a:pt x="2425065" y="204091"/>
                  </a:moveTo>
                  <a:lnTo>
                    <a:pt x="34289" y="950505"/>
                  </a:lnTo>
                  <a:cubicBezTo>
                    <a:pt x="34289" y="1160403"/>
                    <a:pt x="34290" y="1370300"/>
                    <a:pt x="34290" y="1580198"/>
                  </a:cubicBezTo>
                  <a:lnTo>
                    <a:pt x="1102994" y="1582325"/>
                  </a:lnTo>
                  <a:lnTo>
                    <a:pt x="1102994" y="1240156"/>
                  </a:lnTo>
                  <a:lnTo>
                    <a:pt x="2056446" y="1132523"/>
                  </a:lnTo>
                  <a:lnTo>
                    <a:pt x="2120328" y="1137953"/>
                  </a:lnTo>
                  <a:lnTo>
                    <a:pt x="2056447" y="1132523"/>
                  </a:lnTo>
                  <a:lnTo>
                    <a:pt x="2056447" y="1100138"/>
                  </a:lnTo>
                  <a:lnTo>
                    <a:pt x="2056446" y="1100138"/>
                  </a:lnTo>
                  <a:lnTo>
                    <a:pt x="1151572" y="1216343"/>
                  </a:lnTo>
                  <a:lnTo>
                    <a:pt x="1151572" y="1234441"/>
                  </a:lnTo>
                  <a:lnTo>
                    <a:pt x="2056011" y="1132572"/>
                  </a:lnTo>
                  <a:lnTo>
                    <a:pt x="1102994" y="1240156"/>
                  </a:lnTo>
                  <a:lnTo>
                    <a:pt x="1102994" y="1193483"/>
                  </a:lnTo>
                  <a:lnTo>
                    <a:pt x="2056446" y="1060133"/>
                  </a:lnTo>
                  <a:lnTo>
                    <a:pt x="2426351" y="1088800"/>
                  </a:lnTo>
                  <a:cubicBezTo>
                    <a:pt x="2425922" y="745234"/>
                    <a:pt x="2425494" y="547657"/>
                    <a:pt x="2425065" y="204091"/>
                  </a:cubicBezTo>
                  <a:close/>
                  <a:moveTo>
                    <a:pt x="2437447" y="170318"/>
                  </a:moveTo>
                  <a:lnTo>
                    <a:pt x="2437447" y="0"/>
                  </a:lnTo>
                  <a:lnTo>
                    <a:pt x="2437447" y="121656"/>
                  </a:lnTo>
                  <a:lnTo>
                    <a:pt x="4139564" y="742950"/>
                  </a:lnTo>
                  <a:lnTo>
                    <a:pt x="4139564" y="1451610"/>
                  </a:lnTo>
                  <a:lnTo>
                    <a:pt x="4139565" y="1451610"/>
                  </a:lnTo>
                  <a:lnTo>
                    <a:pt x="4139565" y="1616393"/>
                  </a:lnTo>
                  <a:lnTo>
                    <a:pt x="0" y="1616393"/>
                  </a:lnTo>
                  <a:lnTo>
                    <a:pt x="0" y="1451610"/>
                  </a:lnTo>
                  <a:lnTo>
                    <a:pt x="0" y="926806"/>
                  </a:lnTo>
                  <a:lnTo>
                    <a:pt x="2437447" y="121656"/>
                  </a:lnTo>
                  <a:lnTo>
                    <a:pt x="2437447" y="17031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9" name="Textfeld 17">
              <a:extLst>
                <a:ext uri="{FF2B5EF4-FFF2-40B4-BE49-F238E27FC236}">
                  <a16:creationId xmlns:a16="http://schemas.microsoft.com/office/drawing/2014/main" id="{8BD92F45-1429-04C5-EFFF-35758C8A31D1}"/>
                </a:ext>
              </a:extLst>
            </p:cNvPr>
            <p:cNvSpPr txBox="1"/>
            <p:nvPr userDrawn="1"/>
          </p:nvSpPr>
          <p:spPr>
            <a:xfrm>
              <a:off x="1011194" y="3890753"/>
              <a:ext cx="1077539" cy="46166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Wholesale</a:t>
              </a:r>
              <a:b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</a:br>
              <a:r>
                <a:rPr kumimoji="0" lang="de-DE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tores</a:t>
              </a:r>
            </a:p>
          </p:txBody>
        </p:sp>
      </p:grpSp>
      <p:sp>
        <p:nvSpPr>
          <p:cNvPr id="6" name="Rectangle 76">
            <a:extLst>
              <a:ext uri="{FF2B5EF4-FFF2-40B4-BE49-F238E27FC236}">
                <a16:creationId xmlns:a16="http://schemas.microsoft.com/office/drawing/2014/main" id="{15FD5654-2A52-1394-797E-3F0C840D9DCB}"/>
              </a:ext>
            </a:extLst>
          </p:cNvPr>
          <p:cNvSpPr/>
          <p:nvPr userDrawn="1"/>
        </p:nvSpPr>
        <p:spPr>
          <a:xfrm rot="18330812">
            <a:off x="425882" y="3115994"/>
            <a:ext cx="2745529" cy="2570923"/>
          </a:xfrm>
          <a:prstGeom prst="rect">
            <a:avLst/>
          </a:prstGeom>
          <a:noFill/>
        </p:spPr>
        <p:txBody>
          <a:bodyPr spcFirstLastPara="1" wrap="none" lIns="91440" tIns="45720" rIns="91440" bIns="45720" numCol="1">
            <a:prstTxWarp prst="textArchUp">
              <a:avLst>
                <a:gd name="adj" fmla="val 9987508"/>
              </a:avLst>
            </a:prstTxWarp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 w="0"/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ORES</a:t>
            </a:r>
          </a:p>
        </p:txBody>
      </p:sp>
      <p:sp>
        <p:nvSpPr>
          <p:cNvPr id="56" name="TextBox 64">
            <a:extLst>
              <a:ext uri="{FF2B5EF4-FFF2-40B4-BE49-F238E27FC236}">
                <a16:creationId xmlns:a16="http://schemas.microsoft.com/office/drawing/2014/main" id="{B2AA46BE-BA0C-47C9-AA58-F96578A63297}"/>
              </a:ext>
            </a:extLst>
          </p:cNvPr>
          <p:cNvSpPr txBox="1"/>
          <p:nvPr userDrawn="1"/>
        </p:nvSpPr>
        <p:spPr>
          <a:xfrm>
            <a:off x="2058186" y="3838439"/>
            <a:ext cx="1077538" cy="53553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UTIONS</a:t>
            </a:r>
            <a:br>
              <a:rPr kumimoji="0" lang="de-DE" sz="900" b="1" i="0" u="none" strike="noStrike" kern="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kumimoji="0" lang="de-DE" sz="900" b="1" i="0" u="none" strike="noStrike" kern="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 CUSTOMERS</a:t>
            </a:r>
          </a:p>
        </p:txBody>
      </p:sp>
      <p:sp>
        <p:nvSpPr>
          <p:cNvPr id="57" name="Textfeld 33">
            <a:extLst>
              <a:ext uri="{FF2B5EF4-FFF2-40B4-BE49-F238E27FC236}">
                <a16:creationId xmlns:a16="http://schemas.microsoft.com/office/drawing/2014/main" id="{2870EB25-E42A-4E84-B220-91AA89EBC234}"/>
              </a:ext>
            </a:extLst>
          </p:cNvPr>
          <p:cNvSpPr txBox="1"/>
          <p:nvPr userDrawn="1"/>
        </p:nvSpPr>
        <p:spPr>
          <a:xfrm>
            <a:off x="3614051" y="4332607"/>
            <a:ext cx="521297" cy="276999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SD</a:t>
            </a:r>
          </a:p>
        </p:txBody>
      </p:sp>
      <p:sp>
        <p:nvSpPr>
          <p:cNvPr id="58" name="Textfeld 33">
            <a:extLst>
              <a:ext uri="{FF2B5EF4-FFF2-40B4-BE49-F238E27FC236}">
                <a16:creationId xmlns:a16="http://schemas.microsoft.com/office/drawing/2014/main" id="{82B5A517-1611-451E-B629-CFF40332EDED}"/>
              </a:ext>
            </a:extLst>
          </p:cNvPr>
          <p:cNvSpPr txBox="1"/>
          <p:nvPr userDrawn="1"/>
        </p:nvSpPr>
        <p:spPr>
          <a:xfrm>
            <a:off x="1956277" y="2720704"/>
            <a:ext cx="1241045" cy="276999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place</a:t>
            </a:r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DEBA6C8E-99BC-7DC5-A087-39E0F2017988}"/>
              </a:ext>
            </a:extLst>
          </p:cNvPr>
          <p:cNvSpPr txBox="1">
            <a:spLocks/>
          </p:cNvSpPr>
          <p:nvPr userDrawn="1"/>
        </p:nvSpPr>
        <p:spPr>
          <a:xfrm>
            <a:off x="364371" y="943713"/>
            <a:ext cx="3890758" cy="369332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6"/>
              </a:buBlip>
              <a:defRPr lang="de-DE" sz="20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23838" indent="-2238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000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FF0000"/>
              </a:buClr>
              <a:buFontTx/>
              <a:buBlip>
                <a:blip r:embed="rId6"/>
              </a:buBlip>
              <a:tabLst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9438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Tx/>
              <a:buBlip>
                <a:blip r:embed="rId6"/>
              </a:buBlip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8825" indent="-1793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 </a:t>
            </a:r>
          </a:p>
        </p:txBody>
      </p:sp>
      <p:sp>
        <p:nvSpPr>
          <p:cNvPr id="7" name="Textplatzhalter 30">
            <a:extLst>
              <a:ext uri="{FF2B5EF4-FFF2-40B4-BE49-F238E27FC236}">
                <a16:creationId xmlns:a16="http://schemas.microsoft.com/office/drawing/2014/main" id="{85ABA0A0-567C-5C93-0FB0-0A226C86670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2132" y="945620"/>
            <a:ext cx="3656851" cy="322317"/>
          </a:xfrm>
          <a:noFill/>
        </p:spPr>
        <p:txBody>
          <a:bodyPr vert="horz" wrap="square" lIns="72000" tIns="14400" rIns="72000" bIns="0" rtlCol="0">
            <a:spAutoFit/>
          </a:bodyPr>
          <a:lstStyle>
            <a:lvl1pPr algn="l">
              <a:defRPr kumimoji="0" lang="de-DE" sz="2000" b="1" i="0" u="none" strike="noStrike" cap="none" spc="15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Verdana"/>
              </a:defRPr>
            </a:lvl1pPr>
          </a:lstStyle>
          <a:p>
            <a:pPr marL="12700" marR="0" lvl="0" fontAlgn="auto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de-DE" dirty="0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533063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4BFFC908-B332-A144-B832-3645DEB33EFB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3827463" y="1916113"/>
            <a:ext cx="7993062" cy="4500562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de-DE" dirty="0"/>
              <a:t>Imag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9392BBF-BD95-294E-9DD1-75C48A997C27}"/>
              </a:ext>
            </a:extLst>
          </p:cNvPr>
          <p:cNvSpPr/>
          <p:nvPr userDrawn="1"/>
        </p:nvSpPr>
        <p:spPr>
          <a:xfrm>
            <a:off x="371476" y="2291212"/>
            <a:ext cx="3455988" cy="39095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33" name="Grafik 12">
            <a:extLst>
              <a:ext uri="{FF2B5EF4-FFF2-40B4-BE49-F238E27FC236}">
                <a16:creationId xmlns:a16="http://schemas.microsoft.com/office/drawing/2014/main" id="{05BC40BA-3A4D-F840-B2BC-688A0B3A69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96485" y="441325"/>
            <a:ext cx="2824040" cy="472047"/>
            <a:chOff x="8364517" y="441325"/>
            <a:chExt cx="3468861" cy="579831"/>
          </a:xfrm>
        </p:grpSpPr>
        <p:grpSp>
          <p:nvGrpSpPr>
            <p:cNvPr id="34" name="Grafik 12">
              <a:extLst>
                <a:ext uri="{FF2B5EF4-FFF2-40B4-BE49-F238E27FC236}">
                  <a16:creationId xmlns:a16="http://schemas.microsoft.com/office/drawing/2014/main" id="{8752F5C8-4BBD-884C-92FA-580D0C135882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43" name="Freihandform 42">
                <a:extLst>
                  <a:ext uri="{FF2B5EF4-FFF2-40B4-BE49-F238E27FC236}">
                    <a16:creationId xmlns:a16="http://schemas.microsoft.com/office/drawing/2014/main" id="{EC767B8D-6709-2D45-AA88-536B54858C80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4" name="Freihandform 43">
                <a:extLst>
                  <a:ext uri="{FF2B5EF4-FFF2-40B4-BE49-F238E27FC236}">
                    <a16:creationId xmlns:a16="http://schemas.microsoft.com/office/drawing/2014/main" id="{C13937C1-77A1-4748-8F40-08A6D28EC50D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5" name="Freihandform 44">
                <a:extLst>
                  <a:ext uri="{FF2B5EF4-FFF2-40B4-BE49-F238E27FC236}">
                    <a16:creationId xmlns:a16="http://schemas.microsoft.com/office/drawing/2014/main" id="{10C1F18D-78F0-4A4F-97C5-837E9EDC9447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6" name="Freihandform 45">
                <a:extLst>
                  <a:ext uri="{FF2B5EF4-FFF2-40B4-BE49-F238E27FC236}">
                    <a16:creationId xmlns:a16="http://schemas.microsoft.com/office/drawing/2014/main" id="{82D864CC-3AC0-BF4B-8368-EAB4D4EECDA7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7" name="Freihandform 46">
                <a:extLst>
                  <a:ext uri="{FF2B5EF4-FFF2-40B4-BE49-F238E27FC236}">
                    <a16:creationId xmlns:a16="http://schemas.microsoft.com/office/drawing/2014/main" id="{277CDB28-331D-E04A-8391-320DC3266523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5" name="Grafik 12">
              <a:extLst>
                <a:ext uri="{FF2B5EF4-FFF2-40B4-BE49-F238E27FC236}">
                  <a16:creationId xmlns:a16="http://schemas.microsoft.com/office/drawing/2014/main" id="{22A97CA9-BE24-7C45-A6C3-617465292C43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41" name="Freihandform 40">
                <a:extLst>
                  <a:ext uri="{FF2B5EF4-FFF2-40B4-BE49-F238E27FC236}">
                    <a16:creationId xmlns:a16="http://schemas.microsoft.com/office/drawing/2014/main" id="{54183BE5-07E5-9D44-BC3F-B371F96990F2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2" name="Freihandform 41">
                <a:extLst>
                  <a:ext uri="{FF2B5EF4-FFF2-40B4-BE49-F238E27FC236}">
                    <a16:creationId xmlns:a16="http://schemas.microsoft.com/office/drawing/2014/main" id="{66F95FD8-1CD1-FA4B-9160-166564E14682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6" name="Grafik 12">
              <a:extLst>
                <a:ext uri="{FF2B5EF4-FFF2-40B4-BE49-F238E27FC236}">
                  <a16:creationId xmlns:a16="http://schemas.microsoft.com/office/drawing/2014/main" id="{D1D1D3CE-6D85-9E44-8943-DADA782A02F2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37" name="Freihandform 36">
                <a:extLst>
                  <a:ext uri="{FF2B5EF4-FFF2-40B4-BE49-F238E27FC236}">
                    <a16:creationId xmlns:a16="http://schemas.microsoft.com/office/drawing/2014/main" id="{E4250D1B-8A1C-ED4F-A3F4-77BA5EE09A4B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8" name="Freihandform 37">
                <a:extLst>
                  <a:ext uri="{FF2B5EF4-FFF2-40B4-BE49-F238E27FC236}">
                    <a16:creationId xmlns:a16="http://schemas.microsoft.com/office/drawing/2014/main" id="{D0221B24-BC27-D549-A576-F8E7232115AD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9" name="Freihandform 38">
                <a:extLst>
                  <a:ext uri="{FF2B5EF4-FFF2-40B4-BE49-F238E27FC236}">
                    <a16:creationId xmlns:a16="http://schemas.microsoft.com/office/drawing/2014/main" id="{C5ADF8EA-7A99-E849-B234-13B1AC1594B9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0" name="Freihandform 39">
                <a:extLst>
                  <a:ext uri="{FF2B5EF4-FFF2-40B4-BE49-F238E27FC236}">
                    <a16:creationId xmlns:a16="http://schemas.microsoft.com/office/drawing/2014/main" id="{16889735-D73D-A542-A8A9-17E5D4EC710C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23" name="Titel 1">
            <a:extLst>
              <a:ext uri="{FF2B5EF4-FFF2-40B4-BE49-F238E27FC236}">
                <a16:creationId xmlns:a16="http://schemas.microsoft.com/office/drawing/2014/main" id="{C5450DB3-9DD0-0A4F-BE40-3952083E93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7993062" cy="1178143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87000"/>
              </a:lnSpc>
              <a:defRPr sz="4400" b="1" i="0" spc="1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PRESENTATION HEADLINE TWO LINES</a:t>
            </a:r>
          </a:p>
        </p:txBody>
      </p:sp>
      <p:sp>
        <p:nvSpPr>
          <p:cNvPr id="24" name="Textplatzhalter 24">
            <a:extLst>
              <a:ext uri="{FF2B5EF4-FFF2-40B4-BE49-F238E27FC236}">
                <a16:creationId xmlns:a16="http://schemas.microsoft.com/office/drawing/2014/main" id="{8F99FFB3-6657-AC49-8963-400AAA5BA5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4592" y="3208273"/>
            <a:ext cx="4979028" cy="441453"/>
          </a:xfrm>
          <a:prstGeom prst="rect">
            <a:avLst/>
          </a:prstGeom>
          <a:solidFill>
            <a:schemeClr val="accent1"/>
          </a:solidFill>
        </p:spPr>
        <p:txBody>
          <a:bodyPr wrap="none" lIns="108000" tIns="72000" rIns="108000" bIns="36000">
            <a:spAutoFit/>
          </a:bodyPr>
          <a:lstStyle>
            <a:lvl1pPr marL="0" indent="0">
              <a:buNone/>
              <a:defRPr sz="2400" b="1" i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noProof="0"/>
              <a:t>SUBHEADLINE (OPTIONAL)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9D6F9D7A-111C-D144-8FA9-2F3ADD9090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196" y="5881521"/>
            <a:ext cx="3444267" cy="313932"/>
          </a:xfrm>
        </p:spPr>
        <p:txBody>
          <a:bodyPr anchor="b" anchorCtr="0">
            <a:spAutoFit/>
          </a:bodyPr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 dirty="0"/>
              <a:t>Place, Date</a:t>
            </a:r>
          </a:p>
        </p:txBody>
      </p:sp>
    </p:spTree>
    <p:extLst>
      <p:ext uri="{BB962C8B-B14F-4D97-AF65-F5344CB8AC3E}">
        <p14:creationId xmlns:p14="http://schemas.microsoft.com/office/powerpoint/2010/main" val="1168010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3353999" y="0"/>
            <a:ext cx="8839193" cy="34290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Einstufung:</a:t>
            </a:r>
            <a:r>
              <a:rPr spc="-65" dirty="0"/>
              <a:t> </a:t>
            </a:r>
            <a:r>
              <a:rPr dirty="0"/>
              <a:t>öffentlich.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Konzernpräsentation.</a:t>
            </a: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0"/>
                </a:spcBef>
              </a:pPr>
              <a:t>‹Nr.›</a:t>
            </a:fld>
            <a:r>
              <a:rPr dirty="0"/>
              <a:t>©</a:t>
            </a:r>
          </a:p>
        </p:txBody>
      </p:sp>
    </p:spTree>
    <p:extLst>
      <p:ext uri="{BB962C8B-B14F-4D97-AF65-F5344CB8AC3E}">
        <p14:creationId xmlns:p14="http://schemas.microsoft.com/office/powerpoint/2010/main" val="28660309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-wid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</a:t>
            </a:r>
            <a:r>
              <a:rPr lang="en-GB" noProof="0" dirty="0"/>
              <a:t>MASTER</a:t>
            </a:r>
            <a:r>
              <a:rPr lang="en-US" dirty="0"/>
              <a:t>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27/09/2017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METRO AG.   Presentation title.   Classification level: Strictly confidential, confidential, for internal use only, public. Verdana 7.5 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5CE54B-C29A-4A25-9174-59FEA10EAC97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38163" y="1793875"/>
            <a:ext cx="11279187" cy="4302125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29120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50" b="1" i="0">
                <a:solidFill>
                  <a:srgbClr val="F7AD00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Einstufung:</a:t>
            </a:r>
            <a:r>
              <a:rPr spc="-65" dirty="0"/>
              <a:t> </a:t>
            </a:r>
            <a:r>
              <a:rPr dirty="0"/>
              <a:t>öffentlich.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Konzernpräsentation.</a:t>
            </a: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0"/>
                </a:spcBef>
              </a:pPr>
              <a:t>‹Nr.›</a:t>
            </a:fld>
            <a:r>
              <a:rPr dirty="0"/>
              <a:t>©</a:t>
            </a:r>
          </a:p>
        </p:txBody>
      </p:sp>
    </p:spTree>
    <p:extLst>
      <p:ext uri="{BB962C8B-B14F-4D97-AF65-F5344CB8AC3E}">
        <p14:creationId xmlns:p14="http://schemas.microsoft.com/office/powerpoint/2010/main" val="38122016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Nr.›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2192000" cy="6055056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701344"/>
            <a:ext cx="10983760" cy="2118056"/>
          </a:xfrm>
          <a:prstGeom prst="rect">
            <a:avLst/>
          </a:prstGeom>
        </p:spPr>
        <p:txBody>
          <a:bodyPr lIns="0" tIns="0" rIns="0" bIns="0"/>
          <a:lstStyle>
            <a:lvl1pPr marL="98998" indent="0">
              <a:lnSpc>
                <a:spcPct val="100000"/>
              </a:lnSpc>
              <a:buNone/>
              <a:defRPr sz="5333" b="1">
                <a:solidFill>
                  <a:schemeClr val="bg1"/>
                </a:solidFill>
              </a:defRPr>
            </a:lvl1pPr>
            <a:lvl2pPr marL="362991" indent="0">
              <a:buNone/>
              <a:defRPr>
                <a:solidFill>
                  <a:schemeClr val="bg1"/>
                </a:solidFill>
              </a:defRPr>
            </a:lvl2pPr>
            <a:lvl3pPr marL="718182" indent="0">
              <a:buNone/>
              <a:defRPr>
                <a:solidFill>
                  <a:schemeClr val="bg1"/>
                </a:solidFill>
              </a:defRPr>
            </a:lvl3pPr>
            <a:lvl4pPr marL="1096802" indent="0">
              <a:buNone/>
              <a:defRPr>
                <a:solidFill>
                  <a:schemeClr val="bg1"/>
                </a:solidFill>
              </a:defRPr>
            </a:lvl4pPr>
            <a:lvl5pPr marL="1384795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53580141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681671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tegori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601704" y="1771146"/>
            <a:ext cx="4061841" cy="971109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2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5303055" cy="618049"/>
          </a:xfrm>
        </p:spPr>
        <p:txBody>
          <a:bodyPr/>
          <a:lstStyle/>
          <a:p>
            <a:r>
              <a:rPr lang="en-GB" noProof="0"/>
              <a:t>Click to Edit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Nr.›</a:t>
            </a:fld>
            <a:endParaRPr lang="en-GB" noProof="0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5107093" y="1665377"/>
            <a:ext cx="6479680" cy="12231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601704" y="3183719"/>
            <a:ext cx="4061841" cy="971109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2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5107093" y="3077950"/>
            <a:ext cx="6479680" cy="12231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601704" y="4596292"/>
            <a:ext cx="4061841" cy="971109"/>
          </a:xfrm>
          <a:prstGeom prst="rect">
            <a:avLst/>
          </a:prstGeom>
          <a:solidFill>
            <a:schemeClr val="tx2"/>
          </a:solidFill>
        </p:spPr>
        <p:txBody>
          <a:bodyPr anchor="ctr" anchorCtr="1"/>
          <a:lstStyle>
            <a:lvl1pPr marL="0" indent="0" algn="ctr">
              <a:lnSpc>
                <a:spcPct val="100000"/>
              </a:lnSpc>
              <a:buFontTx/>
              <a:buNone/>
              <a:defRPr sz="20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edit tex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5107093" y="4490523"/>
            <a:ext cx="6479680" cy="122315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</a:lstStyle>
          <a:p>
            <a:pPr lvl="0"/>
            <a:r>
              <a:rPr lang="en-GB" noProof="0"/>
              <a:t>Add text here</a:t>
            </a:r>
          </a:p>
          <a:p>
            <a:pPr lv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342961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1" hasCustomPrompt="1"/>
          </p:nvPr>
        </p:nvSpPr>
        <p:spPr bwMode="auto">
          <a:xfrm>
            <a:off x="596961" y="1455212"/>
            <a:ext cx="10988943" cy="44161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05" tIns="60953" rIns="121905" bIns="60953" numCol="1" anchor="t" anchorCtr="0" compatLnSpc="1">
            <a:prstTxWarp prst="textNoShape">
              <a:avLst/>
            </a:prstTxWarp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Add text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4472AB7F-E8D0-4874-A9B8-335B68DC5F05}" type="slidenum">
              <a:rPr lang="en-GB" noProof="0" smtClean="0"/>
              <a:pPr fontAlgn="base">
                <a:spcAft>
                  <a:spcPct val="0"/>
                </a:spcAft>
                <a:defRPr/>
              </a:pPr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445403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</a:t>
            </a:r>
            <a:r>
              <a:rPr lang="en-US" dirty="0"/>
              <a:t>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00" y="1770185"/>
            <a:ext cx="8432550" cy="432581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27/09/2017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© METRO AG.   Presentation title.   Classification level: Strictly confidential, confidential, for internal use only, public. Verdana 7.5 p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5CE54B-C29A-4A25-9174-59FEA10EAC97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73555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550" b="1" i="0">
                <a:solidFill>
                  <a:srgbClr val="F7AD00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917" y="1577340"/>
            <a:ext cx="5306282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936735" y="1566738"/>
            <a:ext cx="5306282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Einstufung:</a:t>
            </a:r>
            <a:r>
              <a:rPr spc="-65" dirty="0"/>
              <a:t> </a:t>
            </a:r>
            <a:r>
              <a:rPr dirty="0"/>
              <a:t>öffentlich.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pc="-5" dirty="0"/>
              <a:t>Konzernpräsentation.</a:t>
            </a: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0"/>
                </a:spcBef>
              </a:pPr>
              <a:t>‹Nr.›</a:t>
            </a:fld>
            <a:r>
              <a:rPr dirty="0"/>
              <a:t>©</a:t>
            </a:r>
          </a:p>
        </p:txBody>
      </p:sp>
    </p:spTree>
    <p:extLst>
      <p:ext uri="{BB962C8B-B14F-4D97-AF65-F5344CB8AC3E}">
        <p14:creationId xmlns:p14="http://schemas.microsoft.com/office/powerpoint/2010/main" val="1110081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9392BBF-BD95-294E-9DD1-75C48A997C27}"/>
              </a:ext>
            </a:extLst>
          </p:cNvPr>
          <p:cNvSpPr/>
          <p:nvPr userDrawn="1"/>
        </p:nvSpPr>
        <p:spPr>
          <a:xfrm>
            <a:off x="371472" y="2132012"/>
            <a:ext cx="11449050" cy="42846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4" name="Grafik 12">
            <a:extLst>
              <a:ext uri="{FF2B5EF4-FFF2-40B4-BE49-F238E27FC236}">
                <a16:creationId xmlns:a16="http://schemas.microsoft.com/office/drawing/2014/main" id="{BD255DE6-ABA1-CD48-908C-1D73497418B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96485" y="441325"/>
            <a:ext cx="2824040" cy="472047"/>
            <a:chOff x="8364517" y="441325"/>
            <a:chExt cx="3468861" cy="579831"/>
          </a:xfrm>
        </p:grpSpPr>
        <p:grpSp>
          <p:nvGrpSpPr>
            <p:cNvPr id="15" name="Grafik 12">
              <a:extLst>
                <a:ext uri="{FF2B5EF4-FFF2-40B4-BE49-F238E27FC236}">
                  <a16:creationId xmlns:a16="http://schemas.microsoft.com/office/drawing/2014/main" id="{A6BA828E-1F84-7644-90A9-B5E0970C65C7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1D0F3455-CFB6-0F4E-A8F4-EC7669677B3F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8BAB29A6-D44C-2045-8D7C-BC5B5E48E3C1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BB630298-E9FD-6D49-A098-B570AA9A02C0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BDA62F08-FC80-0342-B566-A73D577DA42C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830A8E28-84F3-504E-9549-EE86B9E0AB38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6" name="Grafik 12">
              <a:extLst>
                <a:ext uri="{FF2B5EF4-FFF2-40B4-BE49-F238E27FC236}">
                  <a16:creationId xmlns:a16="http://schemas.microsoft.com/office/drawing/2014/main" id="{F2E87788-61BE-2541-A092-760B61FF7FF0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1AE52C27-8DA7-FB42-BBD1-BDC407AB0151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E88936D5-16D5-E148-AA2B-B72835FCCA0B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7" name="Grafik 12">
              <a:extLst>
                <a:ext uri="{FF2B5EF4-FFF2-40B4-BE49-F238E27FC236}">
                  <a16:creationId xmlns:a16="http://schemas.microsoft.com/office/drawing/2014/main" id="{2FFF6FAA-5A30-8B44-808A-22F1A59F28A2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52B1C919-84B2-8C40-A6C0-9CD24AA92572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47A29136-53E2-134C-8AD2-07C6DB33BA92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7F3DB4F2-E0A6-5C4E-9580-85E3094C5132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6E7CA9CC-7F5A-1744-913F-847EAB80A814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32" name="Titel 1">
            <a:extLst>
              <a:ext uri="{FF2B5EF4-FFF2-40B4-BE49-F238E27FC236}">
                <a16:creationId xmlns:a16="http://schemas.microsoft.com/office/drawing/2014/main" id="{3C49B1AB-C6F9-C34C-99CF-4F65A41C48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3638" y="3029795"/>
            <a:ext cx="4461658" cy="536519"/>
          </a:xfrm>
          <a:prstGeom prst="rect">
            <a:avLst/>
          </a:prstGeom>
          <a:solidFill>
            <a:schemeClr val="accent1"/>
          </a:solidFill>
        </p:spPr>
        <p:txBody>
          <a:bodyPr wrap="square" lIns="90000" tIns="54000" rIns="90000" bIns="0">
            <a:spAutoFit/>
          </a:bodyPr>
          <a:lstStyle>
            <a:lvl1pPr>
              <a:lnSpc>
                <a:spcPct val="87000"/>
              </a:lnSpc>
              <a:defRPr sz="3600" b="1" i="0" spc="100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DIVIDER: TITLE</a:t>
            </a:r>
          </a:p>
        </p:txBody>
      </p:sp>
      <p:sp>
        <p:nvSpPr>
          <p:cNvPr id="33" name="Textplatzhalter 8">
            <a:extLst>
              <a:ext uri="{FF2B5EF4-FFF2-40B4-BE49-F238E27FC236}">
                <a16:creationId xmlns:a16="http://schemas.microsoft.com/office/drawing/2014/main" id="{069C9254-4A05-944E-8DD8-F57B190D36A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638" y="3604470"/>
            <a:ext cx="4243767" cy="536519"/>
          </a:xfrm>
          <a:solidFill>
            <a:schemeClr val="accent1"/>
          </a:solidFill>
        </p:spPr>
        <p:txBody>
          <a:bodyPr vert="horz" wrap="none" lIns="90000" tIns="54000" rIns="90000" bIns="0" rtlCol="0" anchor="ctr">
            <a:spAutoFit/>
          </a:bodyPr>
          <a:lstStyle>
            <a:lvl1pPr>
              <a:defRPr lang="de-DE" sz="3600" b="1" i="0" spc="100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 dirty="0"/>
              <a:t>ON TWO LINES</a:t>
            </a:r>
          </a:p>
        </p:txBody>
      </p:sp>
      <p:sp>
        <p:nvSpPr>
          <p:cNvPr id="34" name="Textplatzhalter 8">
            <a:extLst>
              <a:ext uri="{FF2B5EF4-FFF2-40B4-BE49-F238E27FC236}">
                <a16:creationId xmlns:a16="http://schemas.microsoft.com/office/drawing/2014/main" id="{D86AF507-3797-C74D-9027-8B5E872C94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5026" y="4315403"/>
            <a:ext cx="6023100" cy="429374"/>
          </a:xfrm>
          <a:noFill/>
        </p:spPr>
        <p:txBody>
          <a:bodyPr vert="horz" wrap="none" lIns="90000" tIns="54000" rIns="90000" bIns="0" rtlCol="0" anchor="ctr">
            <a:spAutoFit/>
          </a:bodyPr>
          <a:lstStyle>
            <a:lvl1pPr algn="l">
              <a:defRPr lang="de-DE" sz="28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SUBHEADLINE (OPTIONAL)</a:t>
            </a:r>
          </a:p>
        </p:txBody>
      </p:sp>
      <p:sp>
        <p:nvSpPr>
          <p:cNvPr id="29" name="Textplatzhalter 8">
            <a:extLst>
              <a:ext uri="{FF2B5EF4-FFF2-40B4-BE49-F238E27FC236}">
                <a16:creationId xmlns:a16="http://schemas.microsoft.com/office/drawing/2014/main" id="{0AB01104-F164-024A-AABB-D66E16BC35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65026" y="2422668"/>
            <a:ext cx="864637" cy="536519"/>
          </a:xfrm>
          <a:noFill/>
        </p:spPr>
        <p:txBody>
          <a:bodyPr vert="horz" wrap="none" lIns="90000" tIns="54000" rIns="90000" bIns="0" rtlCol="0" anchor="ctr">
            <a:spAutoFit/>
          </a:bodyPr>
          <a:lstStyle>
            <a:lvl1pPr algn="l">
              <a:defRPr lang="de-DE" sz="36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948622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afik 12">
            <a:extLst>
              <a:ext uri="{FF2B5EF4-FFF2-40B4-BE49-F238E27FC236}">
                <a16:creationId xmlns:a16="http://schemas.microsoft.com/office/drawing/2014/main" id="{BD255DE6-ABA1-CD48-908C-1D73497418B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96485" y="441325"/>
            <a:ext cx="2824040" cy="472047"/>
            <a:chOff x="8364517" y="441325"/>
            <a:chExt cx="3468861" cy="579831"/>
          </a:xfrm>
        </p:grpSpPr>
        <p:grpSp>
          <p:nvGrpSpPr>
            <p:cNvPr id="15" name="Grafik 12">
              <a:extLst>
                <a:ext uri="{FF2B5EF4-FFF2-40B4-BE49-F238E27FC236}">
                  <a16:creationId xmlns:a16="http://schemas.microsoft.com/office/drawing/2014/main" id="{A6BA828E-1F84-7644-90A9-B5E0970C65C7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24" name="Freihandform 23">
                <a:extLst>
                  <a:ext uri="{FF2B5EF4-FFF2-40B4-BE49-F238E27FC236}">
                    <a16:creationId xmlns:a16="http://schemas.microsoft.com/office/drawing/2014/main" id="{1D0F3455-CFB6-0F4E-A8F4-EC7669677B3F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5" name="Freihandform 24">
                <a:extLst>
                  <a:ext uri="{FF2B5EF4-FFF2-40B4-BE49-F238E27FC236}">
                    <a16:creationId xmlns:a16="http://schemas.microsoft.com/office/drawing/2014/main" id="{8BAB29A6-D44C-2045-8D7C-BC5B5E48E3C1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Freihandform 25">
                <a:extLst>
                  <a:ext uri="{FF2B5EF4-FFF2-40B4-BE49-F238E27FC236}">
                    <a16:creationId xmlns:a16="http://schemas.microsoft.com/office/drawing/2014/main" id="{BB630298-E9FD-6D49-A098-B570AA9A02C0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Freihandform 26">
                <a:extLst>
                  <a:ext uri="{FF2B5EF4-FFF2-40B4-BE49-F238E27FC236}">
                    <a16:creationId xmlns:a16="http://schemas.microsoft.com/office/drawing/2014/main" id="{BDA62F08-FC80-0342-B566-A73D577DA42C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Freihandform 27">
                <a:extLst>
                  <a:ext uri="{FF2B5EF4-FFF2-40B4-BE49-F238E27FC236}">
                    <a16:creationId xmlns:a16="http://schemas.microsoft.com/office/drawing/2014/main" id="{830A8E28-84F3-504E-9549-EE86B9E0AB38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6" name="Grafik 12">
              <a:extLst>
                <a:ext uri="{FF2B5EF4-FFF2-40B4-BE49-F238E27FC236}">
                  <a16:creationId xmlns:a16="http://schemas.microsoft.com/office/drawing/2014/main" id="{F2E87788-61BE-2541-A092-760B61FF7FF0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22" name="Freihandform 21">
                <a:extLst>
                  <a:ext uri="{FF2B5EF4-FFF2-40B4-BE49-F238E27FC236}">
                    <a16:creationId xmlns:a16="http://schemas.microsoft.com/office/drawing/2014/main" id="{1AE52C27-8DA7-FB42-BBD1-BDC407AB0151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" name="Freihandform 22">
                <a:extLst>
                  <a:ext uri="{FF2B5EF4-FFF2-40B4-BE49-F238E27FC236}">
                    <a16:creationId xmlns:a16="http://schemas.microsoft.com/office/drawing/2014/main" id="{E88936D5-16D5-E148-AA2B-B72835FCCA0B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7" name="Grafik 12">
              <a:extLst>
                <a:ext uri="{FF2B5EF4-FFF2-40B4-BE49-F238E27FC236}">
                  <a16:creationId xmlns:a16="http://schemas.microsoft.com/office/drawing/2014/main" id="{2FFF6FAA-5A30-8B44-808A-22F1A59F28A2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52B1C919-84B2-8C40-A6C0-9CD24AA92572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47A29136-53E2-134C-8AD2-07C6DB33BA92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7F3DB4F2-E0A6-5C4E-9580-85E3094C5132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6E7CA9CC-7F5A-1744-913F-847EAB80A814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DD9F6B6-E013-8E4D-863E-66BE43160A71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71475" y="2776929"/>
            <a:ext cx="11449050" cy="3639746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noProof="0" dirty="0"/>
              <a:t>Image</a:t>
            </a:r>
          </a:p>
        </p:txBody>
      </p:sp>
      <p:sp>
        <p:nvSpPr>
          <p:cNvPr id="36" name="Titel 1">
            <a:extLst>
              <a:ext uri="{FF2B5EF4-FFF2-40B4-BE49-F238E27FC236}">
                <a16:creationId xmlns:a16="http://schemas.microsoft.com/office/drawing/2014/main" id="{20CF202F-D0D3-9D45-AAAC-EEC485CF2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179" y="1016000"/>
            <a:ext cx="4493836" cy="536519"/>
          </a:xfrm>
          <a:prstGeom prst="rect">
            <a:avLst/>
          </a:prstGeom>
          <a:solidFill>
            <a:schemeClr val="accent1"/>
          </a:solidFill>
        </p:spPr>
        <p:txBody>
          <a:bodyPr wrap="none" lIns="90000" tIns="54000" rIns="90000" bIns="0">
            <a:spAutoFit/>
          </a:bodyPr>
          <a:lstStyle>
            <a:lvl1pPr>
              <a:lnSpc>
                <a:spcPct val="87000"/>
              </a:lnSpc>
              <a:defRPr sz="3600" b="1" i="0" spc="100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DIVIDER: TITLE</a:t>
            </a:r>
          </a:p>
        </p:txBody>
      </p:sp>
      <p:sp>
        <p:nvSpPr>
          <p:cNvPr id="37" name="Textplatzhalter 8">
            <a:extLst>
              <a:ext uri="{FF2B5EF4-FFF2-40B4-BE49-F238E27FC236}">
                <a16:creationId xmlns:a16="http://schemas.microsoft.com/office/drawing/2014/main" id="{524F7188-DC7C-634E-9991-CE73914258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6179" y="1590675"/>
            <a:ext cx="4243767" cy="536519"/>
          </a:xfrm>
          <a:solidFill>
            <a:schemeClr val="accent1"/>
          </a:solidFill>
        </p:spPr>
        <p:txBody>
          <a:bodyPr vert="horz" wrap="none" lIns="90000" tIns="54000" rIns="90000" bIns="0" rtlCol="0" anchor="ctr">
            <a:spAutoFit/>
          </a:bodyPr>
          <a:lstStyle>
            <a:lvl1pPr>
              <a:defRPr lang="de-DE" sz="3600" b="1" i="0" spc="100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 dirty="0"/>
              <a:t>ON TWO LINES</a:t>
            </a:r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87C79B67-24C3-254D-BE75-941512FC17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7567" y="2202254"/>
            <a:ext cx="6023100" cy="429374"/>
          </a:xfrm>
          <a:noFill/>
        </p:spPr>
        <p:txBody>
          <a:bodyPr vert="horz" wrap="none" lIns="90000" tIns="54000" rIns="90000" bIns="0" rtlCol="0" anchor="ctr">
            <a:spAutoFit/>
          </a:bodyPr>
          <a:lstStyle>
            <a:lvl1pPr algn="l">
              <a:defRPr lang="de-DE" sz="28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SUBHEADLINE (OPTIONAL)</a:t>
            </a:r>
          </a:p>
        </p:txBody>
      </p:sp>
      <p:sp>
        <p:nvSpPr>
          <p:cNvPr id="30" name="Textplatzhalter 8">
            <a:extLst>
              <a:ext uri="{FF2B5EF4-FFF2-40B4-BE49-F238E27FC236}">
                <a16:creationId xmlns:a16="http://schemas.microsoft.com/office/drawing/2014/main" id="{351B8BF2-B960-984E-BD60-BEEEE86A33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441996"/>
            <a:ext cx="864637" cy="536519"/>
          </a:xfrm>
          <a:solidFill>
            <a:schemeClr val="accent2"/>
          </a:solidFill>
        </p:spPr>
        <p:txBody>
          <a:bodyPr vert="horz" wrap="none" lIns="90000" tIns="54000" rIns="90000" bIns="0" rtlCol="0" anchor="ctr">
            <a:spAutoFit/>
          </a:bodyPr>
          <a:lstStyle>
            <a:lvl1pPr algn="l">
              <a:defRPr lang="de-DE" sz="36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470197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9392BBF-BD95-294E-9DD1-75C48A997C27}"/>
              </a:ext>
            </a:extLst>
          </p:cNvPr>
          <p:cNvSpPr/>
          <p:nvPr userDrawn="1"/>
        </p:nvSpPr>
        <p:spPr>
          <a:xfrm>
            <a:off x="371475" y="441325"/>
            <a:ext cx="11449050" cy="5975350"/>
          </a:xfrm>
          <a:prstGeom prst="rect">
            <a:avLst/>
          </a:prstGeom>
          <a:solidFill>
            <a:srgbClr val="E2F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06F95132-97B9-1941-A559-BAFA152E675E}"/>
              </a:ext>
            </a:extLst>
          </p:cNvPr>
          <p:cNvGrpSpPr/>
          <p:nvPr userDrawn="1"/>
        </p:nvGrpSpPr>
        <p:grpSpPr>
          <a:xfrm>
            <a:off x="377409" y="438579"/>
            <a:ext cx="6346243" cy="5978096"/>
            <a:chOff x="5961485" y="438512"/>
            <a:chExt cx="600255" cy="565434"/>
          </a:xfrm>
        </p:grpSpPr>
        <p:sp>
          <p:nvSpPr>
            <p:cNvPr id="18" name="Freihandform 17">
              <a:extLst>
                <a:ext uri="{FF2B5EF4-FFF2-40B4-BE49-F238E27FC236}">
                  <a16:creationId xmlns:a16="http://schemas.microsoft.com/office/drawing/2014/main" id="{A89AC493-7C44-6245-B0F9-F1E2B172BCAF}"/>
                </a:ext>
              </a:extLst>
            </p:cNvPr>
            <p:cNvSpPr/>
            <p:nvPr userDrawn="1"/>
          </p:nvSpPr>
          <p:spPr>
            <a:xfrm>
              <a:off x="5961485" y="438512"/>
              <a:ext cx="600255" cy="565434"/>
            </a:xfrm>
            <a:custGeom>
              <a:avLst/>
              <a:gdLst>
                <a:gd name="connsiteX0" fmla="*/ 599622 w 600255"/>
                <a:gd name="connsiteY0" fmla="*/ 7638 h 565434"/>
                <a:gd name="connsiteX1" fmla="*/ 596453 w 600255"/>
                <a:gd name="connsiteY1" fmla="*/ 1127 h 565434"/>
                <a:gd name="connsiteX2" fmla="*/ 589609 w 600255"/>
                <a:gd name="connsiteY2" fmla="*/ 1127 h 565434"/>
                <a:gd name="connsiteX3" fmla="*/ 299885 w 600255"/>
                <a:gd name="connsiteY3" fmla="*/ 175540 h 565434"/>
                <a:gd name="connsiteX4" fmla="*/ 11427 w 600255"/>
                <a:gd name="connsiteY4" fmla="*/ 1127 h 565434"/>
                <a:gd name="connsiteX5" fmla="*/ 3823 w 600255"/>
                <a:gd name="connsiteY5" fmla="*/ 1127 h 565434"/>
                <a:gd name="connsiteX6" fmla="*/ 21 w 600255"/>
                <a:gd name="connsiteY6" fmla="*/ 7638 h 565434"/>
                <a:gd name="connsiteX7" fmla="*/ 21 w 600255"/>
                <a:gd name="connsiteY7" fmla="*/ 558546 h 565434"/>
                <a:gd name="connsiteX8" fmla="*/ 6737 w 600255"/>
                <a:gd name="connsiteY8" fmla="*/ 565431 h 565434"/>
                <a:gd name="connsiteX9" fmla="*/ 6865 w 600255"/>
                <a:gd name="connsiteY9" fmla="*/ 565433 h 565434"/>
                <a:gd name="connsiteX10" fmla="*/ 148432 w 600255"/>
                <a:gd name="connsiteY10" fmla="*/ 565433 h 565434"/>
                <a:gd name="connsiteX11" fmla="*/ 156036 w 600255"/>
                <a:gd name="connsiteY11" fmla="*/ 558546 h 565434"/>
                <a:gd name="connsiteX12" fmla="*/ 156036 w 600255"/>
                <a:gd name="connsiteY12" fmla="*/ 255171 h 565434"/>
                <a:gd name="connsiteX13" fmla="*/ 292914 w 600255"/>
                <a:gd name="connsiteY13" fmla="*/ 336931 h 565434"/>
                <a:gd name="connsiteX14" fmla="*/ 299885 w 600255"/>
                <a:gd name="connsiteY14" fmla="*/ 339310 h 565434"/>
                <a:gd name="connsiteX15" fmla="*/ 306729 w 600255"/>
                <a:gd name="connsiteY15" fmla="*/ 336931 h 565434"/>
                <a:gd name="connsiteX16" fmla="*/ 596453 w 600255"/>
                <a:gd name="connsiteY16" fmla="*/ 165648 h 565434"/>
                <a:gd name="connsiteX17" fmla="*/ 600255 w 600255"/>
                <a:gd name="connsiteY17" fmla="*/ 156633 h 565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0255" h="565434">
                  <a:moveTo>
                    <a:pt x="599622" y="7638"/>
                  </a:moveTo>
                  <a:cubicBezTo>
                    <a:pt x="599959" y="5040"/>
                    <a:pt x="598717" y="2489"/>
                    <a:pt x="596453" y="1127"/>
                  </a:cubicBezTo>
                  <a:cubicBezTo>
                    <a:pt x="594425" y="-376"/>
                    <a:pt x="591637" y="-376"/>
                    <a:pt x="589609" y="1127"/>
                  </a:cubicBezTo>
                  <a:lnTo>
                    <a:pt x="299885" y="175540"/>
                  </a:lnTo>
                  <a:lnTo>
                    <a:pt x="11427" y="1127"/>
                  </a:lnTo>
                  <a:cubicBezTo>
                    <a:pt x="9116" y="-359"/>
                    <a:pt x="6135" y="-359"/>
                    <a:pt x="3823" y="1127"/>
                  </a:cubicBezTo>
                  <a:cubicBezTo>
                    <a:pt x="1314" y="2310"/>
                    <a:pt x="-198" y="4899"/>
                    <a:pt x="21" y="7638"/>
                  </a:cubicBezTo>
                  <a:lnTo>
                    <a:pt x="21" y="558546"/>
                  </a:lnTo>
                  <a:cubicBezTo>
                    <a:pt x="-49" y="562280"/>
                    <a:pt x="2958" y="565363"/>
                    <a:pt x="6737" y="565431"/>
                  </a:cubicBezTo>
                  <a:cubicBezTo>
                    <a:pt x="6780" y="565433"/>
                    <a:pt x="6822" y="565433"/>
                    <a:pt x="6865" y="565433"/>
                  </a:cubicBezTo>
                  <a:lnTo>
                    <a:pt x="148432" y="565433"/>
                  </a:lnTo>
                  <a:cubicBezTo>
                    <a:pt x="152420" y="565509"/>
                    <a:pt x="155766" y="562478"/>
                    <a:pt x="156036" y="558546"/>
                  </a:cubicBezTo>
                  <a:lnTo>
                    <a:pt x="156036" y="255171"/>
                  </a:lnTo>
                  <a:lnTo>
                    <a:pt x="292914" y="336931"/>
                  </a:lnTo>
                  <a:cubicBezTo>
                    <a:pt x="295022" y="338242"/>
                    <a:pt x="297407" y="339056"/>
                    <a:pt x="299885" y="339310"/>
                  </a:cubicBezTo>
                  <a:cubicBezTo>
                    <a:pt x="302318" y="339037"/>
                    <a:pt x="304659" y="338224"/>
                    <a:pt x="306729" y="336931"/>
                  </a:cubicBezTo>
                  <a:cubicBezTo>
                    <a:pt x="306729" y="336931"/>
                    <a:pt x="594299" y="166399"/>
                    <a:pt x="596453" y="165648"/>
                  </a:cubicBezTo>
                  <a:cubicBezTo>
                    <a:pt x="600255" y="163395"/>
                    <a:pt x="600255" y="161892"/>
                    <a:pt x="600255" y="156633"/>
                  </a:cubicBezTo>
                  <a:close/>
                </a:path>
              </a:pathLst>
            </a:custGeom>
            <a:solidFill>
              <a:schemeClr val="accent1"/>
            </a:solidFill>
            <a:ln w="126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19" name="Freihandform 18">
              <a:extLst>
                <a:ext uri="{FF2B5EF4-FFF2-40B4-BE49-F238E27FC236}">
                  <a16:creationId xmlns:a16="http://schemas.microsoft.com/office/drawing/2014/main" id="{CB282EA0-5E80-004E-B89A-6CA1B22F65AA}"/>
                </a:ext>
              </a:extLst>
            </p:cNvPr>
            <p:cNvSpPr/>
            <p:nvPr userDrawn="1"/>
          </p:nvSpPr>
          <p:spPr>
            <a:xfrm>
              <a:off x="6406230" y="664690"/>
              <a:ext cx="154877" cy="338128"/>
            </a:xfrm>
            <a:custGeom>
              <a:avLst/>
              <a:gdLst>
                <a:gd name="connsiteX0" fmla="*/ 151708 w 154877"/>
                <a:gd name="connsiteY0" fmla="*/ 947 h 338128"/>
                <a:gd name="connsiteX1" fmla="*/ 144864 w 154877"/>
                <a:gd name="connsiteY1" fmla="*/ 947 h 338128"/>
                <a:gd name="connsiteX2" fmla="*/ 5451 w 154877"/>
                <a:gd name="connsiteY2" fmla="*/ 83458 h 338128"/>
                <a:gd name="connsiteX3" fmla="*/ 1 w 154877"/>
                <a:gd name="connsiteY3" fmla="*/ 93349 h 338128"/>
                <a:gd name="connsiteX4" fmla="*/ 1 w 154877"/>
                <a:gd name="connsiteY4" fmla="*/ 331241 h 338128"/>
                <a:gd name="connsiteX5" fmla="*/ 6716 w 154877"/>
                <a:gd name="connsiteY5" fmla="*/ 338128 h 338128"/>
                <a:gd name="connsiteX6" fmla="*/ 6972 w 154877"/>
                <a:gd name="connsiteY6" fmla="*/ 338128 h 338128"/>
                <a:gd name="connsiteX7" fmla="*/ 148032 w 154877"/>
                <a:gd name="connsiteY7" fmla="*/ 338128 h 338128"/>
                <a:gd name="connsiteX8" fmla="*/ 154877 w 154877"/>
                <a:gd name="connsiteY8" fmla="*/ 331368 h 338128"/>
                <a:gd name="connsiteX9" fmla="*/ 154876 w 154877"/>
                <a:gd name="connsiteY9" fmla="*/ 331241 h 338128"/>
                <a:gd name="connsiteX10" fmla="*/ 154876 w 154877"/>
                <a:gd name="connsiteY10" fmla="*/ 6831 h 338128"/>
                <a:gd name="connsiteX11" fmla="*/ 151074 w 154877"/>
                <a:gd name="connsiteY11" fmla="*/ 821 h 33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877" h="338128">
                  <a:moveTo>
                    <a:pt x="151708" y="947"/>
                  </a:moveTo>
                  <a:cubicBezTo>
                    <a:pt x="149605" y="-316"/>
                    <a:pt x="146966" y="-316"/>
                    <a:pt x="144864" y="947"/>
                  </a:cubicBezTo>
                  <a:lnTo>
                    <a:pt x="5451" y="83458"/>
                  </a:lnTo>
                  <a:cubicBezTo>
                    <a:pt x="1522" y="85085"/>
                    <a:pt x="1" y="87214"/>
                    <a:pt x="1" y="93349"/>
                  </a:cubicBezTo>
                  <a:lnTo>
                    <a:pt x="1" y="331241"/>
                  </a:lnTo>
                  <a:cubicBezTo>
                    <a:pt x="-70" y="334975"/>
                    <a:pt x="2937" y="338058"/>
                    <a:pt x="6716" y="338128"/>
                  </a:cubicBezTo>
                  <a:cubicBezTo>
                    <a:pt x="6801" y="338129"/>
                    <a:pt x="6887" y="338129"/>
                    <a:pt x="6972" y="338128"/>
                  </a:cubicBezTo>
                  <a:lnTo>
                    <a:pt x="148032" y="338128"/>
                  </a:lnTo>
                  <a:cubicBezTo>
                    <a:pt x="151811" y="338128"/>
                    <a:pt x="154876" y="335102"/>
                    <a:pt x="154877" y="331368"/>
                  </a:cubicBezTo>
                  <a:cubicBezTo>
                    <a:pt x="154877" y="331325"/>
                    <a:pt x="154877" y="331284"/>
                    <a:pt x="154876" y="331241"/>
                  </a:cubicBezTo>
                  <a:lnTo>
                    <a:pt x="154876" y="6831"/>
                  </a:lnTo>
                  <a:cubicBezTo>
                    <a:pt x="154683" y="4333"/>
                    <a:pt x="153263" y="2087"/>
                    <a:pt x="151074" y="821"/>
                  </a:cubicBezTo>
                </a:path>
              </a:pathLst>
            </a:custGeom>
            <a:solidFill>
              <a:srgbClr val="F7AE02"/>
            </a:solidFill>
            <a:ln w="126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20" name="Textplatzhalter 8">
            <a:extLst>
              <a:ext uri="{FF2B5EF4-FFF2-40B4-BE49-F238E27FC236}">
                <a16:creationId xmlns:a16="http://schemas.microsoft.com/office/drawing/2014/main" id="{55BF127D-B2B7-3941-A583-82490DF5FB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70529" y="5404423"/>
            <a:ext cx="6023101" cy="429374"/>
          </a:xfrm>
          <a:noFill/>
        </p:spPr>
        <p:txBody>
          <a:bodyPr vert="horz" wrap="none" lIns="90000" tIns="54000" rIns="90000" bIns="0" rtlCol="0" anchor="ctr">
            <a:spAutoFit/>
          </a:bodyPr>
          <a:lstStyle>
            <a:lvl1pPr algn="r">
              <a:defRPr lang="de-DE" sz="28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SUBHEADLINE (OPTIONAL)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42A28436-3C17-A746-A81C-FE401524E5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4729" y="4075140"/>
            <a:ext cx="4492708" cy="536519"/>
          </a:xfrm>
          <a:prstGeom prst="rect">
            <a:avLst/>
          </a:prstGeom>
          <a:solidFill>
            <a:schemeClr val="accent1"/>
          </a:solidFill>
        </p:spPr>
        <p:txBody>
          <a:bodyPr wrap="square" lIns="90000" tIns="54000" rIns="90000" bIns="0" anchor="t" anchorCtr="0">
            <a:spAutoFit/>
          </a:bodyPr>
          <a:lstStyle>
            <a:lvl1pPr algn="r">
              <a:lnSpc>
                <a:spcPct val="87000"/>
              </a:lnSpc>
              <a:defRPr sz="3600" b="1" i="0" spc="100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DIVIDER: TITLE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9A4F33BB-23AB-E34B-AFF7-9605289B27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13669" y="4699342"/>
            <a:ext cx="4243768" cy="536519"/>
          </a:xfrm>
          <a:solidFill>
            <a:schemeClr val="accent1"/>
          </a:solidFill>
        </p:spPr>
        <p:txBody>
          <a:bodyPr vert="horz" wrap="none" lIns="90000" tIns="54000" rIns="90000" bIns="0" rtlCol="0" anchor="ctr">
            <a:spAutoFit/>
          </a:bodyPr>
          <a:lstStyle>
            <a:lvl1pPr algn="r">
              <a:defRPr lang="de-DE" sz="3600" b="1" i="0" spc="100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 dirty="0"/>
              <a:t>ON TWO LINES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450E4CB0-925F-7448-A8D4-F6ACF2D2FE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792800" y="3445308"/>
            <a:ext cx="864637" cy="536519"/>
          </a:xfrm>
          <a:solidFill>
            <a:schemeClr val="accent2"/>
          </a:solidFill>
        </p:spPr>
        <p:txBody>
          <a:bodyPr vert="horz" wrap="none" lIns="90000" tIns="54000" rIns="90000" bIns="0" rtlCol="0" anchor="ctr">
            <a:spAutoFit/>
          </a:bodyPr>
          <a:lstStyle>
            <a:lvl1pPr algn="r">
              <a:defRPr lang="de-DE" sz="36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5491479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er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9D54BC0-968E-2E40-A941-A6CE263E29E5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1476" y="438576"/>
            <a:ext cx="11449046" cy="5978103"/>
          </a:xfrm>
          <a:custGeom>
            <a:avLst/>
            <a:gdLst>
              <a:gd name="connsiteX0" fmla="*/ 6275796 w 11449046"/>
              <a:gd name="connsiteY0" fmla="*/ 2391286 h 5978103"/>
              <a:gd name="connsiteX1" fmla="*/ 6239620 w 11449046"/>
              <a:gd name="connsiteY1" fmla="*/ 2401301 h 5978103"/>
              <a:gd name="connsiteX2" fmla="*/ 4765665 w 11449046"/>
              <a:gd name="connsiteY2" fmla="*/ 3273654 h 5978103"/>
              <a:gd name="connsiteX3" fmla="*/ 4708045 w 11449046"/>
              <a:gd name="connsiteY3" fmla="*/ 3378228 h 5978103"/>
              <a:gd name="connsiteX4" fmla="*/ 4708045 w 11449046"/>
              <a:gd name="connsiteY4" fmla="*/ 5893360 h 5978103"/>
              <a:gd name="connsiteX5" fmla="*/ 4779040 w 11449046"/>
              <a:gd name="connsiteY5" fmla="*/ 5966173 h 5978103"/>
              <a:gd name="connsiteX6" fmla="*/ 4781746 w 11449046"/>
              <a:gd name="connsiteY6" fmla="*/ 5966173 h 5978103"/>
              <a:gd name="connsiteX7" fmla="*/ 6273114 w 11449046"/>
              <a:gd name="connsiteY7" fmla="*/ 5966173 h 5978103"/>
              <a:gd name="connsiteX8" fmla="*/ 6345483 w 11449046"/>
              <a:gd name="connsiteY8" fmla="*/ 5894702 h 5978103"/>
              <a:gd name="connsiteX9" fmla="*/ 6345473 w 11449046"/>
              <a:gd name="connsiteY9" fmla="*/ 5893360 h 5978103"/>
              <a:gd name="connsiteX10" fmla="*/ 6345473 w 11449046"/>
              <a:gd name="connsiteY10" fmla="*/ 2463509 h 5978103"/>
              <a:gd name="connsiteX11" fmla="*/ 6305276 w 11449046"/>
              <a:gd name="connsiteY11" fmla="*/ 2399968 h 5978103"/>
              <a:gd name="connsiteX12" fmla="*/ 6311979 w 11449046"/>
              <a:gd name="connsiteY12" fmla="*/ 2401301 h 5978103"/>
              <a:gd name="connsiteX13" fmla="*/ 6275796 w 11449046"/>
              <a:gd name="connsiteY13" fmla="*/ 2391286 h 5978103"/>
              <a:gd name="connsiteX14" fmla="*/ 95469 w 11449046"/>
              <a:gd name="connsiteY14" fmla="*/ 2749 h 5978103"/>
              <a:gd name="connsiteX15" fmla="*/ 6267456 w 11449046"/>
              <a:gd name="connsiteY15" fmla="*/ 2749 h 5978103"/>
              <a:gd name="connsiteX16" fmla="*/ 6239621 w 11449046"/>
              <a:gd name="connsiteY16" fmla="*/ 11918 h 5978103"/>
              <a:gd name="connsiteX17" fmla="*/ 3176491 w 11449046"/>
              <a:gd name="connsiteY17" fmla="*/ 1855914 h 5978103"/>
              <a:gd name="connsiteX18" fmla="*/ 126746 w 11449046"/>
              <a:gd name="connsiteY18" fmla="*/ 11918 h 5978103"/>
              <a:gd name="connsiteX19" fmla="*/ 0 w 11449046"/>
              <a:gd name="connsiteY19" fmla="*/ 2749 h 5978103"/>
              <a:gd name="connsiteX20" fmla="*/ 77636 w 11449046"/>
              <a:gd name="connsiteY20" fmla="*/ 2749 h 5978103"/>
              <a:gd name="connsiteX21" fmla="*/ 46352 w 11449046"/>
              <a:gd name="connsiteY21" fmla="*/ 11918 h 5978103"/>
              <a:gd name="connsiteX22" fmla="*/ 6155 w 11449046"/>
              <a:gd name="connsiteY22" fmla="*/ 80757 h 5978103"/>
              <a:gd name="connsiteX23" fmla="*/ 6155 w 11449046"/>
              <a:gd name="connsiteY23" fmla="*/ 5905275 h 5978103"/>
              <a:gd name="connsiteX24" fmla="*/ 77161 w 11449046"/>
              <a:gd name="connsiteY24" fmla="*/ 5978068 h 5978103"/>
              <a:gd name="connsiteX25" fmla="*/ 78514 w 11449046"/>
              <a:gd name="connsiteY25" fmla="*/ 5978089 h 5978103"/>
              <a:gd name="connsiteX26" fmla="*/ 1575242 w 11449046"/>
              <a:gd name="connsiteY26" fmla="*/ 5978089 h 5978103"/>
              <a:gd name="connsiteX27" fmla="*/ 1655636 w 11449046"/>
              <a:gd name="connsiteY27" fmla="*/ 5905275 h 5978103"/>
              <a:gd name="connsiteX28" fmla="*/ 1655636 w 11449046"/>
              <a:gd name="connsiteY28" fmla="*/ 2697819 h 5978103"/>
              <a:gd name="connsiteX29" fmla="*/ 3102790 w 11449046"/>
              <a:gd name="connsiteY29" fmla="*/ 3562233 h 5978103"/>
              <a:gd name="connsiteX30" fmla="*/ 3176491 w 11449046"/>
              <a:gd name="connsiteY30" fmla="*/ 3587385 h 5978103"/>
              <a:gd name="connsiteX31" fmla="*/ 3248850 w 11449046"/>
              <a:gd name="connsiteY31" fmla="*/ 3562233 h 5978103"/>
              <a:gd name="connsiteX32" fmla="*/ 6311979 w 11449046"/>
              <a:gd name="connsiteY32" fmla="*/ 1751330 h 5978103"/>
              <a:gd name="connsiteX33" fmla="*/ 6352176 w 11449046"/>
              <a:gd name="connsiteY33" fmla="*/ 1656018 h 5978103"/>
              <a:gd name="connsiteX34" fmla="*/ 6345484 w 11449046"/>
              <a:gd name="connsiteY34" fmla="*/ 80757 h 5978103"/>
              <a:gd name="connsiteX35" fmla="*/ 6311979 w 11449046"/>
              <a:gd name="connsiteY35" fmla="*/ 11918 h 5978103"/>
              <a:gd name="connsiteX36" fmla="*/ 6284144 w 11449046"/>
              <a:gd name="connsiteY36" fmla="*/ 2749 h 5978103"/>
              <a:gd name="connsiteX37" fmla="*/ 11449046 w 11449046"/>
              <a:gd name="connsiteY37" fmla="*/ 2749 h 5978103"/>
              <a:gd name="connsiteX38" fmla="*/ 11449046 w 11449046"/>
              <a:gd name="connsiteY38" fmla="*/ 5978098 h 5978103"/>
              <a:gd name="connsiteX39" fmla="*/ 0 w 11449046"/>
              <a:gd name="connsiteY39" fmla="*/ 5978098 h 5978103"/>
              <a:gd name="connsiteX40" fmla="*/ 86553 w 11449046"/>
              <a:gd name="connsiteY40" fmla="*/ 135 h 5978103"/>
              <a:gd name="connsiteX41" fmla="*/ 95469 w 11449046"/>
              <a:gd name="connsiteY41" fmla="*/ 2749 h 5978103"/>
              <a:gd name="connsiteX42" fmla="*/ 77636 w 11449046"/>
              <a:gd name="connsiteY42" fmla="*/ 2749 h 5978103"/>
              <a:gd name="connsiteX43" fmla="*/ 6275800 w 11449046"/>
              <a:gd name="connsiteY43" fmla="*/ 0 h 5978103"/>
              <a:gd name="connsiteX44" fmla="*/ 6284144 w 11449046"/>
              <a:gd name="connsiteY44" fmla="*/ 2749 h 5978103"/>
              <a:gd name="connsiteX45" fmla="*/ 6267456 w 11449046"/>
              <a:gd name="connsiteY45" fmla="*/ 2749 h 5978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449046" h="5978103">
                <a:moveTo>
                  <a:pt x="6275796" y="2391286"/>
                </a:moveTo>
                <a:cubicBezTo>
                  <a:pt x="6263263" y="2391286"/>
                  <a:pt x="6250732" y="2394624"/>
                  <a:pt x="6239620" y="2401301"/>
                </a:cubicBezTo>
                <a:lnTo>
                  <a:pt x="4765665" y="3273654"/>
                </a:lnTo>
                <a:cubicBezTo>
                  <a:pt x="4724126" y="3290856"/>
                  <a:pt x="4708045" y="3313365"/>
                  <a:pt x="4708045" y="3378228"/>
                </a:cubicBezTo>
                <a:lnTo>
                  <a:pt x="4708045" y="5893360"/>
                </a:lnTo>
                <a:cubicBezTo>
                  <a:pt x="4707294" y="5932838"/>
                  <a:pt x="4739086" y="5965433"/>
                  <a:pt x="4779040" y="5966173"/>
                </a:cubicBezTo>
                <a:cubicBezTo>
                  <a:pt x="4779938" y="5966184"/>
                  <a:pt x="4780848" y="5966184"/>
                  <a:pt x="4781746" y="5966173"/>
                </a:cubicBezTo>
                <a:lnTo>
                  <a:pt x="6273114" y="5966173"/>
                </a:lnTo>
                <a:cubicBezTo>
                  <a:pt x="6313068" y="5966173"/>
                  <a:pt x="6345473" y="5934181"/>
                  <a:pt x="6345483" y="5894702"/>
                </a:cubicBezTo>
                <a:cubicBezTo>
                  <a:pt x="6345483" y="5894248"/>
                  <a:pt x="6345483" y="5893814"/>
                  <a:pt x="6345473" y="5893360"/>
                </a:cubicBezTo>
                <a:lnTo>
                  <a:pt x="6345473" y="2463509"/>
                </a:lnTo>
                <a:cubicBezTo>
                  <a:pt x="6343432" y="2437099"/>
                  <a:pt x="6328419" y="2413353"/>
                  <a:pt x="6305276" y="2399968"/>
                </a:cubicBezTo>
                <a:lnTo>
                  <a:pt x="6311979" y="2401301"/>
                </a:lnTo>
                <a:cubicBezTo>
                  <a:pt x="6300862" y="2394624"/>
                  <a:pt x="6288328" y="2391286"/>
                  <a:pt x="6275796" y="2391286"/>
                </a:cubicBezTo>
                <a:close/>
                <a:moveTo>
                  <a:pt x="95469" y="2749"/>
                </a:moveTo>
                <a:lnTo>
                  <a:pt x="6267456" y="2749"/>
                </a:lnTo>
                <a:lnTo>
                  <a:pt x="6239621" y="11918"/>
                </a:lnTo>
                <a:lnTo>
                  <a:pt x="3176491" y="1855914"/>
                </a:lnTo>
                <a:lnTo>
                  <a:pt x="126746" y="11918"/>
                </a:lnTo>
                <a:close/>
                <a:moveTo>
                  <a:pt x="0" y="2749"/>
                </a:moveTo>
                <a:lnTo>
                  <a:pt x="77636" y="2749"/>
                </a:lnTo>
                <a:lnTo>
                  <a:pt x="46352" y="11918"/>
                </a:lnTo>
                <a:cubicBezTo>
                  <a:pt x="19826" y="24426"/>
                  <a:pt x="3840" y="51798"/>
                  <a:pt x="6155" y="80757"/>
                </a:cubicBezTo>
                <a:lnTo>
                  <a:pt x="6155" y="5905275"/>
                </a:lnTo>
                <a:cubicBezTo>
                  <a:pt x="5415" y="5944753"/>
                  <a:pt x="37207" y="5977349"/>
                  <a:pt x="77161" y="5978068"/>
                </a:cubicBezTo>
                <a:cubicBezTo>
                  <a:pt x="77615" y="5978089"/>
                  <a:pt x="78059" y="5978089"/>
                  <a:pt x="78514" y="5978089"/>
                </a:cubicBezTo>
                <a:lnTo>
                  <a:pt x="1575242" y="5978089"/>
                </a:lnTo>
                <a:cubicBezTo>
                  <a:pt x="1617406" y="5978892"/>
                  <a:pt x="1652782" y="5946847"/>
                  <a:pt x="1655636" y="5905275"/>
                </a:cubicBezTo>
                <a:lnTo>
                  <a:pt x="1655636" y="2697819"/>
                </a:lnTo>
                <a:lnTo>
                  <a:pt x="3102790" y="3562233"/>
                </a:lnTo>
                <a:cubicBezTo>
                  <a:pt x="3125077" y="3576094"/>
                  <a:pt x="3150292" y="3584700"/>
                  <a:pt x="3176491" y="3587385"/>
                </a:cubicBezTo>
                <a:cubicBezTo>
                  <a:pt x="3202214" y="3584499"/>
                  <a:pt x="3226965" y="3575903"/>
                  <a:pt x="3248850" y="3562233"/>
                </a:cubicBezTo>
                <a:cubicBezTo>
                  <a:pt x="3248850" y="3562233"/>
                  <a:pt x="6289206" y="1759270"/>
                  <a:pt x="6311979" y="1751330"/>
                </a:cubicBezTo>
                <a:cubicBezTo>
                  <a:pt x="6352176" y="1727510"/>
                  <a:pt x="6352176" y="1711619"/>
                  <a:pt x="6352176" y="1656018"/>
                </a:cubicBezTo>
                <a:lnTo>
                  <a:pt x="6345484" y="80757"/>
                </a:lnTo>
                <a:cubicBezTo>
                  <a:pt x="6349047" y="53289"/>
                  <a:pt x="6335916" y="26318"/>
                  <a:pt x="6311979" y="11918"/>
                </a:cubicBezTo>
                <a:lnTo>
                  <a:pt x="6284144" y="2749"/>
                </a:lnTo>
                <a:lnTo>
                  <a:pt x="11449046" y="2749"/>
                </a:lnTo>
                <a:lnTo>
                  <a:pt x="11449046" y="5978098"/>
                </a:lnTo>
                <a:lnTo>
                  <a:pt x="0" y="5978098"/>
                </a:lnTo>
                <a:close/>
                <a:moveTo>
                  <a:pt x="86553" y="135"/>
                </a:moveTo>
                <a:lnTo>
                  <a:pt x="95469" y="2749"/>
                </a:lnTo>
                <a:lnTo>
                  <a:pt x="77636" y="2749"/>
                </a:lnTo>
                <a:close/>
                <a:moveTo>
                  <a:pt x="6275800" y="0"/>
                </a:moveTo>
                <a:lnTo>
                  <a:pt x="6284144" y="2749"/>
                </a:lnTo>
                <a:lnTo>
                  <a:pt x="6267456" y="274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Image</a:t>
            </a:r>
          </a:p>
          <a:p>
            <a:endParaRPr lang="de-DE" dirty="0"/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217ECACF-2AA3-394E-B949-39DCD4122C5B}"/>
              </a:ext>
            </a:extLst>
          </p:cNvPr>
          <p:cNvGrpSpPr/>
          <p:nvPr userDrawn="1"/>
        </p:nvGrpSpPr>
        <p:grpSpPr>
          <a:xfrm>
            <a:off x="377409" y="438579"/>
            <a:ext cx="6346243" cy="5978096"/>
            <a:chOff x="5961485" y="438512"/>
            <a:chExt cx="600255" cy="565434"/>
          </a:xfrm>
        </p:grpSpPr>
        <p:sp>
          <p:nvSpPr>
            <p:cNvPr id="20" name="Freihandform 19">
              <a:extLst>
                <a:ext uri="{FF2B5EF4-FFF2-40B4-BE49-F238E27FC236}">
                  <a16:creationId xmlns:a16="http://schemas.microsoft.com/office/drawing/2014/main" id="{B9E2D690-7D55-8548-BAAC-4F221993ADE1}"/>
                </a:ext>
              </a:extLst>
            </p:cNvPr>
            <p:cNvSpPr/>
            <p:nvPr userDrawn="1"/>
          </p:nvSpPr>
          <p:spPr>
            <a:xfrm>
              <a:off x="5961485" y="438512"/>
              <a:ext cx="600255" cy="565434"/>
            </a:xfrm>
            <a:custGeom>
              <a:avLst/>
              <a:gdLst>
                <a:gd name="connsiteX0" fmla="*/ 599622 w 600255"/>
                <a:gd name="connsiteY0" fmla="*/ 7638 h 565434"/>
                <a:gd name="connsiteX1" fmla="*/ 596453 w 600255"/>
                <a:gd name="connsiteY1" fmla="*/ 1127 h 565434"/>
                <a:gd name="connsiteX2" fmla="*/ 589609 w 600255"/>
                <a:gd name="connsiteY2" fmla="*/ 1127 h 565434"/>
                <a:gd name="connsiteX3" fmla="*/ 299885 w 600255"/>
                <a:gd name="connsiteY3" fmla="*/ 175540 h 565434"/>
                <a:gd name="connsiteX4" fmla="*/ 11427 w 600255"/>
                <a:gd name="connsiteY4" fmla="*/ 1127 h 565434"/>
                <a:gd name="connsiteX5" fmla="*/ 3823 w 600255"/>
                <a:gd name="connsiteY5" fmla="*/ 1127 h 565434"/>
                <a:gd name="connsiteX6" fmla="*/ 21 w 600255"/>
                <a:gd name="connsiteY6" fmla="*/ 7638 h 565434"/>
                <a:gd name="connsiteX7" fmla="*/ 21 w 600255"/>
                <a:gd name="connsiteY7" fmla="*/ 558546 h 565434"/>
                <a:gd name="connsiteX8" fmla="*/ 6737 w 600255"/>
                <a:gd name="connsiteY8" fmla="*/ 565431 h 565434"/>
                <a:gd name="connsiteX9" fmla="*/ 6865 w 600255"/>
                <a:gd name="connsiteY9" fmla="*/ 565433 h 565434"/>
                <a:gd name="connsiteX10" fmla="*/ 148432 w 600255"/>
                <a:gd name="connsiteY10" fmla="*/ 565433 h 565434"/>
                <a:gd name="connsiteX11" fmla="*/ 156036 w 600255"/>
                <a:gd name="connsiteY11" fmla="*/ 558546 h 565434"/>
                <a:gd name="connsiteX12" fmla="*/ 156036 w 600255"/>
                <a:gd name="connsiteY12" fmla="*/ 255171 h 565434"/>
                <a:gd name="connsiteX13" fmla="*/ 292914 w 600255"/>
                <a:gd name="connsiteY13" fmla="*/ 336931 h 565434"/>
                <a:gd name="connsiteX14" fmla="*/ 299885 w 600255"/>
                <a:gd name="connsiteY14" fmla="*/ 339310 h 565434"/>
                <a:gd name="connsiteX15" fmla="*/ 306729 w 600255"/>
                <a:gd name="connsiteY15" fmla="*/ 336931 h 565434"/>
                <a:gd name="connsiteX16" fmla="*/ 596453 w 600255"/>
                <a:gd name="connsiteY16" fmla="*/ 165648 h 565434"/>
                <a:gd name="connsiteX17" fmla="*/ 600255 w 600255"/>
                <a:gd name="connsiteY17" fmla="*/ 156633 h 565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0255" h="565434">
                  <a:moveTo>
                    <a:pt x="599622" y="7638"/>
                  </a:moveTo>
                  <a:cubicBezTo>
                    <a:pt x="599959" y="5040"/>
                    <a:pt x="598717" y="2489"/>
                    <a:pt x="596453" y="1127"/>
                  </a:cubicBezTo>
                  <a:cubicBezTo>
                    <a:pt x="594425" y="-376"/>
                    <a:pt x="591637" y="-376"/>
                    <a:pt x="589609" y="1127"/>
                  </a:cubicBezTo>
                  <a:lnTo>
                    <a:pt x="299885" y="175540"/>
                  </a:lnTo>
                  <a:lnTo>
                    <a:pt x="11427" y="1127"/>
                  </a:lnTo>
                  <a:cubicBezTo>
                    <a:pt x="9116" y="-359"/>
                    <a:pt x="6135" y="-359"/>
                    <a:pt x="3823" y="1127"/>
                  </a:cubicBezTo>
                  <a:cubicBezTo>
                    <a:pt x="1314" y="2310"/>
                    <a:pt x="-198" y="4899"/>
                    <a:pt x="21" y="7638"/>
                  </a:cubicBezTo>
                  <a:lnTo>
                    <a:pt x="21" y="558546"/>
                  </a:lnTo>
                  <a:cubicBezTo>
                    <a:pt x="-49" y="562280"/>
                    <a:pt x="2958" y="565363"/>
                    <a:pt x="6737" y="565431"/>
                  </a:cubicBezTo>
                  <a:cubicBezTo>
                    <a:pt x="6780" y="565433"/>
                    <a:pt x="6822" y="565433"/>
                    <a:pt x="6865" y="565433"/>
                  </a:cubicBezTo>
                  <a:lnTo>
                    <a:pt x="148432" y="565433"/>
                  </a:lnTo>
                  <a:cubicBezTo>
                    <a:pt x="152420" y="565509"/>
                    <a:pt x="155766" y="562478"/>
                    <a:pt x="156036" y="558546"/>
                  </a:cubicBezTo>
                  <a:lnTo>
                    <a:pt x="156036" y="255171"/>
                  </a:lnTo>
                  <a:lnTo>
                    <a:pt x="292914" y="336931"/>
                  </a:lnTo>
                  <a:cubicBezTo>
                    <a:pt x="295022" y="338242"/>
                    <a:pt x="297407" y="339056"/>
                    <a:pt x="299885" y="339310"/>
                  </a:cubicBezTo>
                  <a:cubicBezTo>
                    <a:pt x="302318" y="339037"/>
                    <a:pt x="304659" y="338224"/>
                    <a:pt x="306729" y="336931"/>
                  </a:cubicBezTo>
                  <a:cubicBezTo>
                    <a:pt x="306729" y="336931"/>
                    <a:pt x="594299" y="166399"/>
                    <a:pt x="596453" y="165648"/>
                  </a:cubicBezTo>
                  <a:cubicBezTo>
                    <a:pt x="600255" y="163395"/>
                    <a:pt x="600255" y="161892"/>
                    <a:pt x="600255" y="156633"/>
                  </a:cubicBezTo>
                  <a:close/>
                </a:path>
              </a:pathLst>
            </a:custGeom>
            <a:solidFill>
              <a:schemeClr val="accent1"/>
            </a:solidFill>
            <a:ln w="126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  <p:sp>
          <p:nvSpPr>
            <p:cNvPr id="21" name="Freihandform 20">
              <a:extLst>
                <a:ext uri="{FF2B5EF4-FFF2-40B4-BE49-F238E27FC236}">
                  <a16:creationId xmlns:a16="http://schemas.microsoft.com/office/drawing/2014/main" id="{FFB5E58F-5110-2445-8DF7-2784665B5325}"/>
                </a:ext>
              </a:extLst>
            </p:cNvPr>
            <p:cNvSpPr/>
            <p:nvPr userDrawn="1"/>
          </p:nvSpPr>
          <p:spPr>
            <a:xfrm>
              <a:off x="6406230" y="664690"/>
              <a:ext cx="154877" cy="338128"/>
            </a:xfrm>
            <a:custGeom>
              <a:avLst/>
              <a:gdLst>
                <a:gd name="connsiteX0" fmla="*/ 151708 w 154877"/>
                <a:gd name="connsiteY0" fmla="*/ 947 h 338128"/>
                <a:gd name="connsiteX1" fmla="*/ 144864 w 154877"/>
                <a:gd name="connsiteY1" fmla="*/ 947 h 338128"/>
                <a:gd name="connsiteX2" fmla="*/ 5451 w 154877"/>
                <a:gd name="connsiteY2" fmla="*/ 83458 h 338128"/>
                <a:gd name="connsiteX3" fmla="*/ 1 w 154877"/>
                <a:gd name="connsiteY3" fmla="*/ 93349 h 338128"/>
                <a:gd name="connsiteX4" fmla="*/ 1 w 154877"/>
                <a:gd name="connsiteY4" fmla="*/ 331241 h 338128"/>
                <a:gd name="connsiteX5" fmla="*/ 6716 w 154877"/>
                <a:gd name="connsiteY5" fmla="*/ 338128 h 338128"/>
                <a:gd name="connsiteX6" fmla="*/ 6972 w 154877"/>
                <a:gd name="connsiteY6" fmla="*/ 338128 h 338128"/>
                <a:gd name="connsiteX7" fmla="*/ 148032 w 154877"/>
                <a:gd name="connsiteY7" fmla="*/ 338128 h 338128"/>
                <a:gd name="connsiteX8" fmla="*/ 154877 w 154877"/>
                <a:gd name="connsiteY8" fmla="*/ 331368 h 338128"/>
                <a:gd name="connsiteX9" fmla="*/ 154876 w 154877"/>
                <a:gd name="connsiteY9" fmla="*/ 331241 h 338128"/>
                <a:gd name="connsiteX10" fmla="*/ 154876 w 154877"/>
                <a:gd name="connsiteY10" fmla="*/ 6831 h 338128"/>
                <a:gd name="connsiteX11" fmla="*/ 151074 w 154877"/>
                <a:gd name="connsiteY11" fmla="*/ 821 h 338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4877" h="338128">
                  <a:moveTo>
                    <a:pt x="151708" y="947"/>
                  </a:moveTo>
                  <a:cubicBezTo>
                    <a:pt x="149605" y="-316"/>
                    <a:pt x="146966" y="-316"/>
                    <a:pt x="144864" y="947"/>
                  </a:cubicBezTo>
                  <a:lnTo>
                    <a:pt x="5451" y="83458"/>
                  </a:lnTo>
                  <a:cubicBezTo>
                    <a:pt x="1522" y="85085"/>
                    <a:pt x="1" y="87214"/>
                    <a:pt x="1" y="93349"/>
                  </a:cubicBezTo>
                  <a:lnTo>
                    <a:pt x="1" y="331241"/>
                  </a:lnTo>
                  <a:cubicBezTo>
                    <a:pt x="-70" y="334975"/>
                    <a:pt x="2937" y="338058"/>
                    <a:pt x="6716" y="338128"/>
                  </a:cubicBezTo>
                  <a:cubicBezTo>
                    <a:pt x="6801" y="338129"/>
                    <a:pt x="6887" y="338129"/>
                    <a:pt x="6972" y="338128"/>
                  </a:cubicBezTo>
                  <a:lnTo>
                    <a:pt x="148032" y="338128"/>
                  </a:lnTo>
                  <a:cubicBezTo>
                    <a:pt x="151811" y="338128"/>
                    <a:pt x="154876" y="335102"/>
                    <a:pt x="154877" y="331368"/>
                  </a:cubicBezTo>
                  <a:cubicBezTo>
                    <a:pt x="154877" y="331325"/>
                    <a:pt x="154877" y="331284"/>
                    <a:pt x="154876" y="331241"/>
                  </a:cubicBezTo>
                  <a:lnTo>
                    <a:pt x="154876" y="6831"/>
                  </a:lnTo>
                  <a:cubicBezTo>
                    <a:pt x="154683" y="4333"/>
                    <a:pt x="153263" y="2087"/>
                    <a:pt x="151074" y="821"/>
                  </a:cubicBezTo>
                </a:path>
              </a:pathLst>
            </a:custGeom>
            <a:solidFill>
              <a:srgbClr val="F7AE02"/>
            </a:solidFill>
            <a:ln w="126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dirty="0"/>
            </a:p>
          </p:txBody>
        </p:sp>
      </p:grp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F5DAB511-E045-6F4A-A918-BF817CB24A27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10792800" y="3445308"/>
            <a:ext cx="864637" cy="536519"/>
          </a:xfrm>
          <a:solidFill>
            <a:schemeClr val="accent2"/>
          </a:solidFill>
        </p:spPr>
        <p:txBody>
          <a:bodyPr vert="horz" wrap="none" lIns="90000" tIns="54000" rIns="90000" bIns="0" rtlCol="0" anchor="ctr">
            <a:spAutoFit/>
          </a:bodyPr>
          <a:lstStyle>
            <a:lvl1pPr algn="r">
              <a:defRPr lang="de-DE" sz="36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00</a:t>
            </a:r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6E865DF8-8AC6-B045-9440-4D43B5C9461E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770529" y="5404423"/>
            <a:ext cx="6023101" cy="429374"/>
          </a:xfrm>
          <a:noFill/>
        </p:spPr>
        <p:txBody>
          <a:bodyPr vert="horz" wrap="none" lIns="90000" tIns="54000" rIns="90000" bIns="0" rtlCol="0" anchor="ctr">
            <a:spAutoFit/>
          </a:bodyPr>
          <a:lstStyle>
            <a:lvl1pPr algn="r">
              <a:defRPr lang="de-DE" sz="2800" b="1" i="0" spc="100" baseline="0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/>
              <a:t>SUBHEADLINE (OPTIONAL)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0FEB241-1C73-4A4E-A219-E234309968E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199453" y="4075140"/>
            <a:ext cx="4457984" cy="536519"/>
          </a:xfrm>
          <a:prstGeom prst="rect">
            <a:avLst/>
          </a:prstGeom>
          <a:solidFill>
            <a:schemeClr val="accent1"/>
          </a:solidFill>
        </p:spPr>
        <p:txBody>
          <a:bodyPr wrap="square" lIns="90000" tIns="54000" rIns="90000" bIns="0" anchor="t" anchorCtr="0">
            <a:spAutoFit/>
          </a:bodyPr>
          <a:lstStyle>
            <a:lvl1pPr algn="r">
              <a:lnSpc>
                <a:spcPct val="87000"/>
              </a:lnSpc>
              <a:defRPr sz="3600" b="1" i="0" spc="100" baseline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DIVIDER: TITLE</a:t>
            </a:r>
          </a:p>
        </p:txBody>
      </p:sp>
      <p:sp>
        <p:nvSpPr>
          <p:cNvPr id="14" name="Textplatzhalter 8">
            <a:extLst>
              <a:ext uri="{FF2B5EF4-FFF2-40B4-BE49-F238E27FC236}">
                <a16:creationId xmlns:a16="http://schemas.microsoft.com/office/drawing/2014/main" id="{305677A2-A0EB-A24D-9805-6D1AFA9DC48A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413669" y="4699342"/>
            <a:ext cx="4243768" cy="536519"/>
          </a:xfrm>
          <a:solidFill>
            <a:schemeClr val="accent1"/>
          </a:solidFill>
        </p:spPr>
        <p:txBody>
          <a:bodyPr vert="horz" wrap="none" lIns="90000" tIns="54000" rIns="90000" bIns="0" rtlCol="0" anchor="ctr">
            <a:spAutoFit/>
          </a:bodyPr>
          <a:lstStyle>
            <a:lvl1pPr algn="r">
              <a:defRPr lang="de-DE" sz="3600" b="1" i="0" spc="100" baseline="0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>
              <a:lnSpc>
                <a:spcPct val="87000"/>
              </a:lnSpc>
              <a:spcBef>
                <a:spcPct val="0"/>
              </a:spcBef>
            </a:pPr>
            <a:r>
              <a:rPr lang="en-US" noProof="0" dirty="0"/>
              <a:t>ON TWO LINES</a:t>
            </a:r>
          </a:p>
        </p:txBody>
      </p:sp>
    </p:spTree>
    <p:extLst>
      <p:ext uri="{BB962C8B-B14F-4D97-AF65-F5344CB8AC3E}">
        <p14:creationId xmlns:p14="http://schemas.microsoft.com/office/powerpoint/2010/main" val="149198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0">
          <p15:clr>
            <a:srgbClr val="FBAE40"/>
          </p15:clr>
        </p15:guide>
        <p15:guide id="1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C87962-9695-534F-ABEF-4DC96AAA69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441325"/>
            <a:ext cx="2125903" cy="479550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noProof="0"/>
              <a:t>AGENDA</a:t>
            </a:r>
          </a:p>
        </p:txBody>
      </p:sp>
      <p:sp>
        <p:nvSpPr>
          <p:cNvPr id="6" name="Textplatzhalter 22">
            <a:extLst>
              <a:ext uri="{FF2B5EF4-FFF2-40B4-BE49-F238E27FC236}">
                <a16:creationId xmlns:a16="http://schemas.microsoft.com/office/drawing/2014/main" id="{FAC4185F-83C3-0F49-AA4D-1E056BE084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63636" y="1484313"/>
            <a:ext cx="10656887" cy="431800"/>
          </a:xfrm>
        </p:spPr>
        <p:txBody>
          <a:bodyPr anchor="ctr" anchorCtr="0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Section Title</a:t>
            </a:r>
          </a:p>
        </p:txBody>
      </p:sp>
      <p:grpSp>
        <p:nvGrpSpPr>
          <p:cNvPr id="7" name="Grafik 12">
            <a:extLst>
              <a:ext uri="{FF2B5EF4-FFF2-40B4-BE49-F238E27FC236}">
                <a16:creationId xmlns:a16="http://schemas.microsoft.com/office/drawing/2014/main" id="{F38C12D9-A016-784A-B16A-C9A69AE0CF3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96485" y="441325"/>
            <a:ext cx="2824040" cy="472047"/>
            <a:chOff x="8364517" y="441325"/>
            <a:chExt cx="3468861" cy="579831"/>
          </a:xfrm>
        </p:grpSpPr>
        <p:grpSp>
          <p:nvGrpSpPr>
            <p:cNvPr id="8" name="Grafik 12">
              <a:extLst>
                <a:ext uri="{FF2B5EF4-FFF2-40B4-BE49-F238E27FC236}">
                  <a16:creationId xmlns:a16="http://schemas.microsoft.com/office/drawing/2014/main" id="{B6AB96FD-7A4F-8B4D-9CEB-0CD3728018DF}"/>
                </a:ext>
              </a:extLst>
            </p:cNvPr>
            <p:cNvGrpSpPr/>
            <p:nvPr/>
          </p:nvGrpSpPr>
          <p:grpSpPr>
            <a:xfrm>
              <a:off x="9413173" y="441325"/>
              <a:ext cx="2420204" cy="579831"/>
              <a:chOff x="9413173" y="441325"/>
              <a:chExt cx="2420204" cy="579831"/>
            </a:xfrm>
            <a:solidFill>
              <a:srgbClr val="1C3E76"/>
            </a:solidFill>
          </p:grpSpPr>
          <p:sp>
            <p:nvSpPr>
              <p:cNvPr id="17" name="Freihandform 16">
                <a:extLst>
                  <a:ext uri="{FF2B5EF4-FFF2-40B4-BE49-F238E27FC236}">
                    <a16:creationId xmlns:a16="http://schemas.microsoft.com/office/drawing/2014/main" id="{3988429E-5E65-B745-A2D2-FD26D7D0813D}"/>
                  </a:ext>
                </a:extLst>
              </p:cNvPr>
              <p:cNvSpPr/>
              <p:nvPr/>
            </p:nvSpPr>
            <p:spPr>
              <a:xfrm>
                <a:off x="11250251" y="441325"/>
                <a:ext cx="583127" cy="265320"/>
              </a:xfrm>
              <a:custGeom>
                <a:avLst/>
                <a:gdLst>
                  <a:gd name="connsiteX0" fmla="*/ 291499 w 583127"/>
                  <a:gd name="connsiteY0" fmla="*/ 148495 h 265320"/>
                  <a:gd name="connsiteX1" fmla="*/ 430912 w 583127"/>
                  <a:gd name="connsiteY1" fmla="*/ 260054 h 265320"/>
                  <a:gd name="connsiteX2" fmla="*/ 438516 w 583127"/>
                  <a:gd name="connsiteY2" fmla="*/ 265313 h 265320"/>
                  <a:gd name="connsiteX3" fmla="*/ 575521 w 583127"/>
                  <a:gd name="connsiteY3" fmla="*/ 265313 h 265320"/>
                  <a:gd name="connsiteX4" fmla="*/ 583125 w 583127"/>
                  <a:gd name="connsiteY4" fmla="*/ 258551 h 265320"/>
                  <a:gd name="connsiteX5" fmla="*/ 291499 w 583127"/>
                  <a:gd name="connsiteY5" fmla="*/ 0 h 265320"/>
                  <a:gd name="connsiteX6" fmla="*/ 0 w 583127"/>
                  <a:gd name="connsiteY6" fmla="*/ 258551 h 265320"/>
                  <a:gd name="connsiteX7" fmla="*/ 6971 w 583127"/>
                  <a:gd name="connsiteY7" fmla="*/ 265313 h 265320"/>
                  <a:gd name="connsiteX8" fmla="*/ 144102 w 583127"/>
                  <a:gd name="connsiteY8" fmla="*/ 265313 h 265320"/>
                  <a:gd name="connsiteX9" fmla="*/ 150946 w 583127"/>
                  <a:gd name="connsiteY9" fmla="*/ 260054 h 265320"/>
                  <a:gd name="connsiteX10" fmla="*/ 290358 w 583127"/>
                  <a:gd name="connsiteY10" fmla="*/ 148495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127" h="265320">
                    <a:moveTo>
                      <a:pt x="291499" y="148495"/>
                    </a:moveTo>
                    <a:cubicBezTo>
                      <a:pt x="358785" y="148566"/>
                      <a:pt x="416869" y="195050"/>
                      <a:pt x="430912" y="260054"/>
                    </a:cubicBezTo>
                    <a:cubicBezTo>
                      <a:pt x="431938" y="263309"/>
                      <a:pt x="435069" y="265469"/>
                      <a:pt x="438516" y="265313"/>
                    </a:cubicBezTo>
                    <a:lnTo>
                      <a:pt x="575521" y="265313"/>
                    </a:lnTo>
                    <a:cubicBezTo>
                      <a:pt x="579462" y="265393"/>
                      <a:pt x="582795" y="262434"/>
                      <a:pt x="583125" y="258551"/>
                    </a:cubicBezTo>
                    <a:cubicBezTo>
                      <a:pt x="583632" y="200330"/>
                      <a:pt x="517094" y="0"/>
                      <a:pt x="291499" y="0"/>
                    </a:cubicBezTo>
                    <a:cubicBezTo>
                      <a:pt x="65904" y="0"/>
                      <a:pt x="0" y="200330"/>
                      <a:pt x="0" y="258551"/>
                    </a:cubicBezTo>
                    <a:cubicBezTo>
                      <a:pt x="63" y="262305"/>
                      <a:pt x="3169" y="265314"/>
                      <a:pt x="6971" y="265313"/>
                    </a:cubicBezTo>
                    <a:lnTo>
                      <a:pt x="144102" y="265313"/>
                    </a:lnTo>
                    <a:cubicBezTo>
                      <a:pt x="147296" y="265217"/>
                      <a:pt x="150071" y="263091"/>
                      <a:pt x="150946" y="260054"/>
                    </a:cubicBezTo>
                    <a:cubicBezTo>
                      <a:pt x="165242" y="195208"/>
                      <a:pt x="223187" y="148849"/>
                      <a:pt x="290358" y="148495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8" name="Freihandform 17">
                <a:extLst>
                  <a:ext uri="{FF2B5EF4-FFF2-40B4-BE49-F238E27FC236}">
                    <a16:creationId xmlns:a16="http://schemas.microsoft.com/office/drawing/2014/main" id="{B3B6E587-4325-2B48-AC69-7CC4BBB414F6}"/>
                  </a:ext>
                </a:extLst>
              </p:cNvPr>
              <p:cNvSpPr/>
              <p:nvPr/>
            </p:nvSpPr>
            <p:spPr>
              <a:xfrm>
                <a:off x="11249742" y="755835"/>
                <a:ext cx="583633" cy="265320"/>
              </a:xfrm>
              <a:custGeom>
                <a:avLst/>
                <a:gdLst>
                  <a:gd name="connsiteX0" fmla="*/ 292008 w 583633"/>
                  <a:gd name="connsiteY0" fmla="*/ 116826 h 265320"/>
                  <a:gd name="connsiteX1" fmla="*/ 431420 w 583633"/>
                  <a:gd name="connsiteY1" fmla="*/ 6143 h 265320"/>
                  <a:gd name="connsiteX2" fmla="*/ 439024 w 583633"/>
                  <a:gd name="connsiteY2" fmla="*/ 8 h 265320"/>
                  <a:gd name="connsiteX3" fmla="*/ 576029 w 583633"/>
                  <a:gd name="connsiteY3" fmla="*/ 8 h 265320"/>
                  <a:gd name="connsiteX4" fmla="*/ 583633 w 583633"/>
                  <a:gd name="connsiteY4" fmla="*/ 7645 h 265320"/>
                  <a:gd name="connsiteX5" fmla="*/ 291500 w 583633"/>
                  <a:gd name="connsiteY5" fmla="*/ 265321 h 265320"/>
                  <a:gd name="connsiteX6" fmla="*/ 1 w 583633"/>
                  <a:gd name="connsiteY6" fmla="*/ 7645 h 265320"/>
                  <a:gd name="connsiteX7" fmla="*/ 6972 w 583633"/>
                  <a:gd name="connsiteY7" fmla="*/ 8 h 265320"/>
                  <a:gd name="connsiteX8" fmla="*/ 144610 w 583633"/>
                  <a:gd name="connsiteY8" fmla="*/ 8 h 265320"/>
                  <a:gd name="connsiteX9" fmla="*/ 151454 w 583633"/>
                  <a:gd name="connsiteY9" fmla="*/ 6143 h 265320"/>
                  <a:gd name="connsiteX10" fmla="*/ 290867 w 583633"/>
                  <a:gd name="connsiteY10" fmla="*/ 116826 h 2653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83633" h="265320">
                    <a:moveTo>
                      <a:pt x="292008" y="116826"/>
                    </a:moveTo>
                    <a:cubicBezTo>
                      <a:pt x="359103" y="117082"/>
                      <a:pt x="417238" y="70931"/>
                      <a:pt x="431420" y="6143"/>
                    </a:cubicBezTo>
                    <a:cubicBezTo>
                      <a:pt x="432003" y="2481"/>
                      <a:pt x="435273" y="-164"/>
                      <a:pt x="439024" y="8"/>
                    </a:cubicBezTo>
                    <a:lnTo>
                      <a:pt x="576029" y="8"/>
                    </a:lnTo>
                    <a:cubicBezTo>
                      <a:pt x="580148" y="315"/>
                      <a:pt x="583392" y="3578"/>
                      <a:pt x="583633" y="7645"/>
                    </a:cubicBezTo>
                    <a:cubicBezTo>
                      <a:pt x="583633" y="65992"/>
                      <a:pt x="517096" y="265321"/>
                      <a:pt x="291500" y="265321"/>
                    </a:cubicBezTo>
                    <a:cubicBezTo>
                      <a:pt x="65906" y="265321"/>
                      <a:pt x="1" y="65992"/>
                      <a:pt x="1" y="7645"/>
                    </a:cubicBezTo>
                    <a:cubicBezTo>
                      <a:pt x="-75" y="3681"/>
                      <a:pt x="2967" y="337"/>
                      <a:pt x="6972" y="8"/>
                    </a:cubicBezTo>
                    <a:lnTo>
                      <a:pt x="144610" y="8"/>
                    </a:lnTo>
                    <a:cubicBezTo>
                      <a:pt x="148096" y="156"/>
                      <a:pt x="150973" y="2735"/>
                      <a:pt x="151454" y="6143"/>
                    </a:cubicBezTo>
                    <a:cubicBezTo>
                      <a:pt x="165852" y="70797"/>
                      <a:pt x="223860" y="116844"/>
                      <a:pt x="290867" y="116826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9" name="Freihandform 18">
                <a:extLst>
                  <a:ext uri="{FF2B5EF4-FFF2-40B4-BE49-F238E27FC236}">
                    <a16:creationId xmlns:a16="http://schemas.microsoft.com/office/drawing/2014/main" id="{40E7B8D8-4C7E-8C4D-A74F-B215650529F7}"/>
                  </a:ext>
                </a:extLst>
              </p:cNvPr>
              <p:cNvSpPr/>
              <p:nvPr/>
            </p:nvSpPr>
            <p:spPr>
              <a:xfrm>
                <a:off x="10041797" y="636897"/>
                <a:ext cx="155381" cy="373741"/>
              </a:xfrm>
              <a:custGeom>
                <a:avLst/>
                <a:gdLst>
                  <a:gd name="connsiteX0" fmla="*/ 155255 w 155381"/>
                  <a:gd name="connsiteY0" fmla="*/ 366855 h 373741"/>
                  <a:gd name="connsiteX1" fmla="*/ 148538 w 155381"/>
                  <a:gd name="connsiteY1" fmla="*/ 373740 h 373741"/>
                  <a:gd name="connsiteX2" fmla="*/ 148411 w 155381"/>
                  <a:gd name="connsiteY2" fmla="*/ 373741 h 373741"/>
                  <a:gd name="connsiteX3" fmla="*/ 6844 w 155381"/>
                  <a:gd name="connsiteY3" fmla="*/ 373741 h 373741"/>
                  <a:gd name="connsiteX4" fmla="*/ 0 w 155381"/>
                  <a:gd name="connsiteY4" fmla="*/ 366982 h 373741"/>
                  <a:gd name="connsiteX5" fmla="*/ 0 w 155381"/>
                  <a:gd name="connsiteY5" fmla="*/ 366855 h 373741"/>
                  <a:gd name="connsiteX6" fmla="*/ 0 w 155381"/>
                  <a:gd name="connsiteY6" fmla="*/ 6761 h 373741"/>
                  <a:gd name="connsiteX7" fmla="*/ 6844 w 155381"/>
                  <a:gd name="connsiteY7" fmla="*/ 0 h 373741"/>
                  <a:gd name="connsiteX8" fmla="*/ 148538 w 155381"/>
                  <a:gd name="connsiteY8" fmla="*/ 0 h 373741"/>
                  <a:gd name="connsiteX9" fmla="*/ 155382 w 155381"/>
                  <a:gd name="connsiteY9" fmla="*/ 6761 h 373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381" h="373741">
                    <a:moveTo>
                      <a:pt x="155255" y="366855"/>
                    </a:moveTo>
                    <a:cubicBezTo>
                      <a:pt x="155331" y="370589"/>
                      <a:pt x="152315" y="373671"/>
                      <a:pt x="148538" y="373740"/>
                    </a:cubicBezTo>
                    <a:cubicBezTo>
                      <a:pt x="148500" y="373741"/>
                      <a:pt x="148449" y="373741"/>
                      <a:pt x="148411" y="373741"/>
                    </a:cubicBezTo>
                    <a:lnTo>
                      <a:pt x="6844" y="373741"/>
                    </a:lnTo>
                    <a:cubicBezTo>
                      <a:pt x="3067" y="373743"/>
                      <a:pt x="0" y="370715"/>
                      <a:pt x="0" y="366982"/>
                    </a:cubicBezTo>
                    <a:cubicBezTo>
                      <a:pt x="0" y="366939"/>
                      <a:pt x="0" y="366898"/>
                      <a:pt x="0" y="366855"/>
                    </a:cubicBezTo>
                    <a:lnTo>
                      <a:pt x="0" y="6761"/>
                    </a:lnTo>
                    <a:cubicBezTo>
                      <a:pt x="0" y="3027"/>
                      <a:pt x="3067" y="0"/>
                      <a:pt x="6844" y="0"/>
                    </a:cubicBezTo>
                    <a:lnTo>
                      <a:pt x="148538" y="0"/>
                    </a:lnTo>
                    <a:cubicBezTo>
                      <a:pt x="152315" y="0"/>
                      <a:pt x="155382" y="3027"/>
                      <a:pt x="155382" y="6761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0" name="Freihandform 19">
                <a:extLst>
                  <a:ext uri="{FF2B5EF4-FFF2-40B4-BE49-F238E27FC236}">
                    <a16:creationId xmlns:a16="http://schemas.microsoft.com/office/drawing/2014/main" id="{E5E9A168-980D-A84E-8B78-A0D2698079EF}"/>
                  </a:ext>
                </a:extLst>
              </p:cNvPr>
              <p:cNvSpPr/>
              <p:nvPr/>
            </p:nvSpPr>
            <p:spPr>
              <a:xfrm>
                <a:off x="9866644" y="451842"/>
                <a:ext cx="506321" cy="135849"/>
              </a:xfrm>
              <a:custGeom>
                <a:avLst/>
                <a:gdLst>
                  <a:gd name="connsiteX0" fmla="*/ 6844 w 506321"/>
                  <a:gd name="connsiteY0" fmla="*/ 135849 h 135849"/>
                  <a:gd name="connsiteX1" fmla="*/ 0 w 506321"/>
                  <a:gd name="connsiteY1" fmla="*/ 128963 h 135849"/>
                  <a:gd name="connsiteX2" fmla="*/ 0 w 506321"/>
                  <a:gd name="connsiteY2" fmla="*/ 6886 h 135849"/>
                  <a:gd name="connsiteX3" fmla="*/ 6844 w 506321"/>
                  <a:gd name="connsiteY3" fmla="*/ 0 h 135849"/>
                  <a:gd name="connsiteX4" fmla="*/ 499351 w 506321"/>
                  <a:gd name="connsiteY4" fmla="*/ 0 h 135849"/>
                  <a:gd name="connsiteX5" fmla="*/ 506321 w 506321"/>
                  <a:gd name="connsiteY5" fmla="*/ 6886 h 135849"/>
                  <a:gd name="connsiteX6" fmla="*/ 506321 w 506321"/>
                  <a:gd name="connsiteY6" fmla="*/ 128963 h 135849"/>
                  <a:gd name="connsiteX7" fmla="*/ 499351 w 506321"/>
                  <a:gd name="connsiteY7" fmla="*/ 135849 h 135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06321" h="135849">
                    <a:moveTo>
                      <a:pt x="6844" y="135849"/>
                    </a:moveTo>
                    <a:cubicBezTo>
                      <a:pt x="3042" y="135780"/>
                      <a:pt x="0" y="132718"/>
                      <a:pt x="0" y="128963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499351" y="0"/>
                    </a:lnTo>
                    <a:cubicBezTo>
                      <a:pt x="503203" y="0"/>
                      <a:pt x="506321" y="3083"/>
                      <a:pt x="506321" y="6886"/>
                    </a:cubicBezTo>
                    <a:lnTo>
                      <a:pt x="506321" y="128963"/>
                    </a:lnTo>
                    <a:cubicBezTo>
                      <a:pt x="506321" y="132766"/>
                      <a:pt x="503203" y="135849"/>
                      <a:pt x="499351" y="135849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21" name="Freihandform 20">
                <a:extLst>
                  <a:ext uri="{FF2B5EF4-FFF2-40B4-BE49-F238E27FC236}">
                    <a16:creationId xmlns:a16="http://schemas.microsoft.com/office/drawing/2014/main" id="{4607DDB1-93FF-1046-9E6A-B0A6CD9D6C82}"/>
                  </a:ext>
                </a:extLst>
              </p:cNvPr>
              <p:cNvSpPr/>
              <p:nvPr/>
            </p:nvSpPr>
            <p:spPr>
              <a:xfrm>
                <a:off x="9413173" y="670202"/>
                <a:ext cx="221032" cy="122077"/>
              </a:xfrm>
              <a:custGeom>
                <a:avLst/>
                <a:gdLst>
                  <a:gd name="connsiteX0" fmla="*/ 7604 w 221032"/>
                  <a:gd name="connsiteY0" fmla="*/ 121701 h 122077"/>
                  <a:gd name="connsiteX1" fmla="*/ 0 w 221032"/>
                  <a:gd name="connsiteY1" fmla="*/ 114940 h 122077"/>
                  <a:gd name="connsiteX2" fmla="*/ 0 w 221032"/>
                  <a:gd name="connsiteY2" fmla="*/ 6886 h 122077"/>
                  <a:gd name="connsiteX3" fmla="*/ 7604 w 221032"/>
                  <a:gd name="connsiteY3" fmla="*/ 0 h 122077"/>
                  <a:gd name="connsiteX4" fmla="*/ 214062 w 221032"/>
                  <a:gd name="connsiteY4" fmla="*/ 0 h 122077"/>
                  <a:gd name="connsiteX5" fmla="*/ 221032 w 221032"/>
                  <a:gd name="connsiteY5" fmla="*/ 6886 h 122077"/>
                  <a:gd name="connsiteX6" fmla="*/ 221032 w 221032"/>
                  <a:gd name="connsiteY6" fmla="*/ 115315 h 122077"/>
                  <a:gd name="connsiteX7" fmla="*/ 214190 w 221032"/>
                  <a:gd name="connsiteY7" fmla="*/ 122078 h 122077"/>
                  <a:gd name="connsiteX8" fmla="*/ 214062 w 221032"/>
                  <a:gd name="connsiteY8" fmla="*/ 122076 h 122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1032" h="122077">
                    <a:moveTo>
                      <a:pt x="7604" y="121701"/>
                    </a:moveTo>
                    <a:cubicBezTo>
                      <a:pt x="3662" y="121781"/>
                      <a:pt x="333" y="118822"/>
                      <a:pt x="0" y="114940"/>
                    </a:cubicBezTo>
                    <a:lnTo>
                      <a:pt x="0" y="6886"/>
                    </a:lnTo>
                    <a:cubicBezTo>
                      <a:pt x="331" y="2984"/>
                      <a:pt x="3640" y="-14"/>
                      <a:pt x="7604" y="0"/>
                    </a:cubicBezTo>
                    <a:lnTo>
                      <a:pt x="214062" y="0"/>
                    </a:lnTo>
                    <a:cubicBezTo>
                      <a:pt x="217912" y="0"/>
                      <a:pt x="221032" y="3083"/>
                      <a:pt x="221032" y="6886"/>
                    </a:cubicBezTo>
                    <a:lnTo>
                      <a:pt x="221032" y="115315"/>
                    </a:lnTo>
                    <a:cubicBezTo>
                      <a:pt x="221032" y="119049"/>
                      <a:pt x="217969" y="122076"/>
                      <a:pt x="214190" y="122078"/>
                    </a:cubicBezTo>
                    <a:cubicBezTo>
                      <a:pt x="214147" y="122078"/>
                      <a:pt x="214105" y="122078"/>
                      <a:pt x="214062" y="12207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9" name="Grafik 12">
              <a:extLst>
                <a:ext uri="{FF2B5EF4-FFF2-40B4-BE49-F238E27FC236}">
                  <a16:creationId xmlns:a16="http://schemas.microsoft.com/office/drawing/2014/main" id="{E4725B1B-7376-4241-8FBC-3AA97CF7FAD9}"/>
                </a:ext>
              </a:extLst>
            </p:cNvPr>
            <p:cNvGrpSpPr/>
            <p:nvPr/>
          </p:nvGrpSpPr>
          <p:grpSpPr>
            <a:xfrm>
              <a:off x="8364517" y="446208"/>
              <a:ext cx="1301755" cy="565434"/>
              <a:chOff x="8364517" y="446208"/>
              <a:chExt cx="1301755" cy="565434"/>
            </a:xfrm>
            <a:solidFill>
              <a:srgbClr val="1C3E76"/>
            </a:solidFill>
          </p:grpSpPr>
          <p:sp>
            <p:nvSpPr>
              <p:cNvPr id="15" name="Freihandform 14">
                <a:extLst>
                  <a:ext uri="{FF2B5EF4-FFF2-40B4-BE49-F238E27FC236}">
                    <a16:creationId xmlns:a16="http://schemas.microsoft.com/office/drawing/2014/main" id="{E79BA8B5-751D-6B47-8DFF-27AB8CE9F65B}"/>
                  </a:ext>
                </a:extLst>
              </p:cNvPr>
              <p:cNvSpPr/>
              <p:nvPr/>
            </p:nvSpPr>
            <p:spPr>
              <a:xfrm>
                <a:off x="9208996" y="451842"/>
                <a:ext cx="457275" cy="558796"/>
              </a:xfrm>
              <a:custGeom>
                <a:avLst/>
                <a:gdLst>
                  <a:gd name="connsiteX0" fmla="*/ 450431 w 457275"/>
                  <a:gd name="connsiteY0" fmla="*/ 423073 h 558796"/>
                  <a:gd name="connsiteX1" fmla="*/ 155129 w 457275"/>
                  <a:gd name="connsiteY1" fmla="*/ 423073 h 558796"/>
                  <a:gd name="connsiteX2" fmla="*/ 155129 w 457275"/>
                  <a:gd name="connsiteY2" fmla="*/ 135849 h 558796"/>
                  <a:gd name="connsiteX3" fmla="*/ 446628 w 457275"/>
                  <a:gd name="connsiteY3" fmla="*/ 135849 h 558796"/>
                  <a:gd name="connsiteX4" fmla="*/ 453472 w 457275"/>
                  <a:gd name="connsiteY4" fmla="*/ 128963 h 558796"/>
                  <a:gd name="connsiteX5" fmla="*/ 453472 w 457275"/>
                  <a:gd name="connsiteY5" fmla="*/ 6886 h 558796"/>
                  <a:gd name="connsiteX6" fmla="*/ 446628 w 457275"/>
                  <a:gd name="connsiteY6" fmla="*/ 0 h 558796"/>
                  <a:gd name="connsiteX7" fmla="*/ 6845 w 457275"/>
                  <a:gd name="connsiteY7" fmla="*/ 0 h 558796"/>
                  <a:gd name="connsiteX8" fmla="*/ 1 w 457275"/>
                  <a:gd name="connsiteY8" fmla="*/ 6886 h 558796"/>
                  <a:gd name="connsiteX9" fmla="*/ 1 w 457275"/>
                  <a:gd name="connsiteY9" fmla="*/ 551910 h 558796"/>
                  <a:gd name="connsiteX10" fmla="*/ 6717 w 457275"/>
                  <a:gd name="connsiteY10" fmla="*/ 558795 h 558796"/>
                  <a:gd name="connsiteX11" fmla="*/ 6845 w 457275"/>
                  <a:gd name="connsiteY11" fmla="*/ 558797 h 558796"/>
                  <a:gd name="connsiteX12" fmla="*/ 450431 w 457275"/>
                  <a:gd name="connsiteY12" fmla="*/ 558797 h 558796"/>
                  <a:gd name="connsiteX13" fmla="*/ 457274 w 457275"/>
                  <a:gd name="connsiteY13" fmla="*/ 552037 h 558796"/>
                  <a:gd name="connsiteX14" fmla="*/ 457274 w 457275"/>
                  <a:gd name="connsiteY14" fmla="*/ 551910 h 558796"/>
                  <a:gd name="connsiteX15" fmla="*/ 457274 w 457275"/>
                  <a:gd name="connsiteY15" fmla="*/ 429959 h 558796"/>
                  <a:gd name="connsiteX16" fmla="*/ 450557 w 457275"/>
                  <a:gd name="connsiteY16" fmla="*/ 423074 h 558796"/>
                  <a:gd name="connsiteX17" fmla="*/ 450431 w 457275"/>
                  <a:gd name="connsiteY17" fmla="*/ 423073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7275" h="558796">
                    <a:moveTo>
                      <a:pt x="450431" y="423073"/>
                    </a:moveTo>
                    <a:lnTo>
                      <a:pt x="155129" y="423073"/>
                    </a:lnTo>
                    <a:lnTo>
                      <a:pt x="155129" y="135849"/>
                    </a:lnTo>
                    <a:lnTo>
                      <a:pt x="446628" y="135849"/>
                    </a:lnTo>
                    <a:cubicBezTo>
                      <a:pt x="450431" y="135780"/>
                      <a:pt x="453472" y="132718"/>
                      <a:pt x="453472" y="128963"/>
                    </a:cubicBezTo>
                    <a:lnTo>
                      <a:pt x="453472" y="6886"/>
                    </a:lnTo>
                    <a:cubicBezTo>
                      <a:pt x="453472" y="3132"/>
                      <a:pt x="450431" y="68"/>
                      <a:pt x="446628" y="0"/>
                    </a:cubicBezTo>
                    <a:lnTo>
                      <a:pt x="6845" y="0"/>
                    </a:lnTo>
                    <a:cubicBezTo>
                      <a:pt x="3046" y="68"/>
                      <a:pt x="1" y="3132"/>
                      <a:pt x="1" y="6886"/>
                    </a:cubicBezTo>
                    <a:lnTo>
                      <a:pt x="1" y="551910"/>
                    </a:lnTo>
                    <a:cubicBezTo>
                      <a:pt x="-68" y="555644"/>
                      <a:pt x="2938" y="558727"/>
                      <a:pt x="6717" y="558795"/>
                    </a:cubicBezTo>
                    <a:cubicBezTo>
                      <a:pt x="6760" y="558797"/>
                      <a:pt x="6802" y="558797"/>
                      <a:pt x="6845" y="558797"/>
                    </a:cubicBezTo>
                    <a:lnTo>
                      <a:pt x="450431" y="558797"/>
                    </a:lnTo>
                    <a:cubicBezTo>
                      <a:pt x="454207" y="558798"/>
                      <a:pt x="457274" y="555770"/>
                      <a:pt x="457274" y="552037"/>
                    </a:cubicBezTo>
                    <a:cubicBezTo>
                      <a:pt x="457274" y="551994"/>
                      <a:pt x="457274" y="551953"/>
                      <a:pt x="457274" y="551910"/>
                    </a:cubicBezTo>
                    <a:lnTo>
                      <a:pt x="457274" y="429959"/>
                    </a:lnTo>
                    <a:cubicBezTo>
                      <a:pt x="457350" y="426226"/>
                      <a:pt x="454334" y="423143"/>
                      <a:pt x="450557" y="423074"/>
                    </a:cubicBezTo>
                    <a:cubicBezTo>
                      <a:pt x="450519" y="423073"/>
                      <a:pt x="450469" y="423073"/>
                      <a:pt x="450431" y="423073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6" name="Freihandform 15">
                <a:extLst>
                  <a:ext uri="{FF2B5EF4-FFF2-40B4-BE49-F238E27FC236}">
                    <a16:creationId xmlns:a16="http://schemas.microsoft.com/office/drawing/2014/main" id="{41B97F40-78B8-0841-953B-CBF6ABB9A6D6}"/>
                  </a:ext>
                </a:extLst>
              </p:cNvPr>
              <p:cNvSpPr/>
              <p:nvPr/>
            </p:nvSpPr>
            <p:spPr>
              <a:xfrm>
                <a:off x="8364517" y="446208"/>
                <a:ext cx="600255" cy="565434"/>
              </a:xfrm>
              <a:custGeom>
                <a:avLst/>
                <a:gdLst>
                  <a:gd name="connsiteX0" fmla="*/ 599622 w 600255"/>
                  <a:gd name="connsiteY0" fmla="*/ 7638 h 565434"/>
                  <a:gd name="connsiteX1" fmla="*/ 596453 w 600255"/>
                  <a:gd name="connsiteY1" fmla="*/ 1127 h 565434"/>
                  <a:gd name="connsiteX2" fmla="*/ 589609 w 600255"/>
                  <a:gd name="connsiteY2" fmla="*/ 1127 h 565434"/>
                  <a:gd name="connsiteX3" fmla="*/ 299885 w 600255"/>
                  <a:gd name="connsiteY3" fmla="*/ 175540 h 565434"/>
                  <a:gd name="connsiteX4" fmla="*/ 11427 w 600255"/>
                  <a:gd name="connsiteY4" fmla="*/ 1127 h 565434"/>
                  <a:gd name="connsiteX5" fmla="*/ 3823 w 600255"/>
                  <a:gd name="connsiteY5" fmla="*/ 1127 h 565434"/>
                  <a:gd name="connsiteX6" fmla="*/ 21 w 600255"/>
                  <a:gd name="connsiteY6" fmla="*/ 7638 h 565434"/>
                  <a:gd name="connsiteX7" fmla="*/ 21 w 600255"/>
                  <a:gd name="connsiteY7" fmla="*/ 558546 h 565434"/>
                  <a:gd name="connsiteX8" fmla="*/ 6737 w 600255"/>
                  <a:gd name="connsiteY8" fmla="*/ 565431 h 565434"/>
                  <a:gd name="connsiteX9" fmla="*/ 6865 w 600255"/>
                  <a:gd name="connsiteY9" fmla="*/ 565433 h 565434"/>
                  <a:gd name="connsiteX10" fmla="*/ 148432 w 600255"/>
                  <a:gd name="connsiteY10" fmla="*/ 565433 h 565434"/>
                  <a:gd name="connsiteX11" fmla="*/ 156036 w 600255"/>
                  <a:gd name="connsiteY11" fmla="*/ 558546 h 565434"/>
                  <a:gd name="connsiteX12" fmla="*/ 156036 w 600255"/>
                  <a:gd name="connsiteY12" fmla="*/ 255171 h 565434"/>
                  <a:gd name="connsiteX13" fmla="*/ 292914 w 600255"/>
                  <a:gd name="connsiteY13" fmla="*/ 336931 h 565434"/>
                  <a:gd name="connsiteX14" fmla="*/ 299885 w 600255"/>
                  <a:gd name="connsiteY14" fmla="*/ 339310 h 565434"/>
                  <a:gd name="connsiteX15" fmla="*/ 306729 w 600255"/>
                  <a:gd name="connsiteY15" fmla="*/ 336931 h 565434"/>
                  <a:gd name="connsiteX16" fmla="*/ 596453 w 600255"/>
                  <a:gd name="connsiteY16" fmla="*/ 165648 h 565434"/>
                  <a:gd name="connsiteX17" fmla="*/ 600255 w 600255"/>
                  <a:gd name="connsiteY17" fmla="*/ 156633 h 565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600255" h="565434">
                    <a:moveTo>
                      <a:pt x="599622" y="7638"/>
                    </a:moveTo>
                    <a:cubicBezTo>
                      <a:pt x="599959" y="5040"/>
                      <a:pt x="598717" y="2489"/>
                      <a:pt x="596453" y="1127"/>
                    </a:cubicBezTo>
                    <a:cubicBezTo>
                      <a:pt x="594425" y="-376"/>
                      <a:pt x="591637" y="-376"/>
                      <a:pt x="589609" y="1127"/>
                    </a:cubicBezTo>
                    <a:lnTo>
                      <a:pt x="299885" y="175540"/>
                    </a:lnTo>
                    <a:lnTo>
                      <a:pt x="11427" y="1127"/>
                    </a:lnTo>
                    <a:cubicBezTo>
                      <a:pt x="9116" y="-359"/>
                      <a:pt x="6135" y="-359"/>
                      <a:pt x="3823" y="1127"/>
                    </a:cubicBezTo>
                    <a:cubicBezTo>
                      <a:pt x="1314" y="2310"/>
                      <a:pt x="-198" y="4899"/>
                      <a:pt x="21" y="7638"/>
                    </a:cubicBezTo>
                    <a:lnTo>
                      <a:pt x="21" y="558546"/>
                    </a:lnTo>
                    <a:cubicBezTo>
                      <a:pt x="-49" y="562280"/>
                      <a:pt x="2958" y="565363"/>
                      <a:pt x="6737" y="565431"/>
                    </a:cubicBezTo>
                    <a:cubicBezTo>
                      <a:pt x="6780" y="565433"/>
                      <a:pt x="6822" y="565433"/>
                      <a:pt x="6865" y="565433"/>
                    </a:cubicBezTo>
                    <a:lnTo>
                      <a:pt x="148432" y="565433"/>
                    </a:lnTo>
                    <a:cubicBezTo>
                      <a:pt x="152420" y="565509"/>
                      <a:pt x="155766" y="562478"/>
                      <a:pt x="156036" y="558546"/>
                    </a:cubicBezTo>
                    <a:lnTo>
                      <a:pt x="156036" y="255171"/>
                    </a:lnTo>
                    <a:lnTo>
                      <a:pt x="292914" y="336931"/>
                    </a:lnTo>
                    <a:cubicBezTo>
                      <a:pt x="295022" y="338242"/>
                      <a:pt x="297407" y="339056"/>
                      <a:pt x="299885" y="339310"/>
                    </a:cubicBezTo>
                    <a:cubicBezTo>
                      <a:pt x="302318" y="339037"/>
                      <a:pt x="304659" y="338224"/>
                      <a:pt x="306729" y="336931"/>
                    </a:cubicBezTo>
                    <a:cubicBezTo>
                      <a:pt x="306729" y="336931"/>
                      <a:pt x="594299" y="166399"/>
                      <a:pt x="596453" y="165648"/>
                    </a:cubicBezTo>
                    <a:cubicBezTo>
                      <a:pt x="600255" y="163395"/>
                      <a:pt x="600255" y="161892"/>
                      <a:pt x="600255" y="156633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  <p:grpSp>
          <p:nvGrpSpPr>
            <p:cNvPr id="10" name="Grafik 12">
              <a:extLst>
                <a:ext uri="{FF2B5EF4-FFF2-40B4-BE49-F238E27FC236}">
                  <a16:creationId xmlns:a16="http://schemas.microsoft.com/office/drawing/2014/main" id="{F3841821-3F30-8E43-8CAF-97D02EE14360}"/>
                </a:ext>
              </a:extLst>
            </p:cNvPr>
            <p:cNvGrpSpPr/>
            <p:nvPr/>
          </p:nvGrpSpPr>
          <p:grpSpPr>
            <a:xfrm>
              <a:off x="8809262" y="451831"/>
              <a:ext cx="2252147" cy="558856"/>
              <a:chOff x="8809262" y="451831"/>
              <a:chExt cx="2252147" cy="558856"/>
            </a:xfrm>
          </p:grpSpPr>
          <p:sp>
            <p:nvSpPr>
              <p:cNvPr id="11" name="Freihandform 10">
                <a:extLst>
                  <a:ext uri="{FF2B5EF4-FFF2-40B4-BE49-F238E27FC236}">
                    <a16:creationId xmlns:a16="http://schemas.microsoft.com/office/drawing/2014/main" id="{E4EE4583-CE9A-AB48-B594-059D04CEA810}"/>
                  </a:ext>
                </a:extLst>
              </p:cNvPr>
              <p:cNvSpPr/>
              <p:nvPr/>
            </p:nvSpPr>
            <p:spPr>
              <a:xfrm>
                <a:off x="8809262" y="672386"/>
                <a:ext cx="154877" cy="338128"/>
              </a:xfrm>
              <a:custGeom>
                <a:avLst/>
                <a:gdLst>
                  <a:gd name="connsiteX0" fmla="*/ 151708 w 154877"/>
                  <a:gd name="connsiteY0" fmla="*/ 947 h 338128"/>
                  <a:gd name="connsiteX1" fmla="*/ 144864 w 154877"/>
                  <a:gd name="connsiteY1" fmla="*/ 947 h 338128"/>
                  <a:gd name="connsiteX2" fmla="*/ 5451 w 154877"/>
                  <a:gd name="connsiteY2" fmla="*/ 83458 h 338128"/>
                  <a:gd name="connsiteX3" fmla="*/ 1 w 154877"/>
                  <a:gd name="connsiteY3" fmla="*/ 93349 h 338128"/>
                  <a:gd name="connsiteX4" fmla="*/ 1 w 154877"/>
                  <a:gd name="connsiteY4" fmla="*/ 331241 h 338128"/>
                  <a:gd name="connsiteX5" fmla="*/ 6716 w 154877"/>
                  <a:gd name="connsiteY5" fmla="*/ 338128 h 338128"/>
                  <a:gd name="connsiteX6" fmla="*/ 6972 w 154877"/>
                  <a:gd name="connsiteY6" fmla="*/ 338128 h 338128"/>
                  <a:gd name="connsiteX7" fmla="*/ 148032 w 154877"/>
                  <a:gd name="connsiteY7" fmla="*/ 338128 h 338128"/>
                  <a:gd name="connsiteX8" fmla="*/ 154877 w 154877"/>
                  <a:gd name="connsiteY8" fmla="*/ 331368 h 338128"/>
                  <a:gd name="connsiteX9" fmla="*/ 154876 w 154877"/>
                  <a:gd name="connsiteY9" fmla="*/ 331241 h 338128"/>
                  <a:gd name="connsiteX10" fmla="*/ 154876 w 154877"/>
                  <a:gd name="connsiteY10" fmla="*/ 6831 h 338128"/>
                  <a:gd name="connsiteX11" fmla="*/ 151074 w 154877"/>
                  <a:gd name="connsiteY11" fmla="*/ 821 h 33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4877" h="338128">
                    <a:moveTo>
                      <a:pt x="151708" y="947"/>
                    </a:moveTo>
                    <a:cubicBezTo>
                      <a:pt x="149605" y="-316"/>
                      <a:pt x="146966" y="-316"/>
                      <a:pt x="144864" y="947"/>
                    </a:cubicBezTo>
                    <a:lnTo>
                      <a:pt x="5451" y="83458"/>
                    </a:lnTo>
                    <a:cubicBezTo>
                      <a:pt x="1522" y="85085"/>
                      <a:pt x="1" y="87214"/>
                      <a:pt x="1" y="93349"/>
                    </a:cubicBezTo>
                    <a:lnTo>
                      <a:pt x="1" y="331241"/>
                    </a:lnTo>
                    <a:cubicBezTo>
                      <a:pt x="-70" y="334975"/>
                      <a:pt x="2937" y="338058"/>
                      <a:pt x="6716" y="338128"/>
                    </a:cubicBezTo>
                    <a:cubicBezTo>
                      <a:pt x="6801" y="338129"/>
                      <a:pt x="6887" y="338129"/>
                      <a:pt x="6972" y="338128"/>
                    </a:cubicBezTo>
                    <a:lnTo>
                      <a:pt x="148032" y="338128"/>
                    </a:lnTo>
                    <a:cubicBezTo>
                      <a:pt x="151811" y="338128"/>
                      <a:pt x="154876" y="335102"/>
                      <a:pt x="154877" y="331368"/>
                    </a:cubicBezTo>
                    <a:cubicBezTo>
                      <a:pt x="154877" y="331325"/>
                      <a:pt x="154877" y="331284"/>
                      <a:pt x="154876" y="331241"/>
                    </a:cubicBezTo>
                    <a:lnTo>
                      <a:pt x="154876" y="6831"/>
                    </a:lnTo>
                    <a:cubicBezTo>
                      <a:pt x="154683" y="4333"/>
                      <a:pt x="153263" y="2087"/>
                      <a:pt x="151074" y="821"/>
                    </a:cubicBezTo>
                  </a:path>
                </a:pathLst>
              </a:custGeom>
              <a:solidFill>
                <a:srgbClr val="F7AE02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2" name="Freihandform 11">
                <a:extLst>
                  <a:ext uri="{FF2B5EF4-FFF2-40B4-BE49-F238E27FC236}">
                    <a16:creationId xmlns:a16="http://schemas.microsoft.com/office/drawing/2014/main" id="{FF70C724-1BD3-024C-9B91-3AE494B92989}"/>
                  </a:ext>
                </a:extLst>
              </p:cNvPr>
              <p:cNvSpPr/>
              <p:nvPr/>
            </p:nvSpPr>
            <p:spPr>
              <a:xfrm>
                <a:off x="10561912" y="451831"/>
                <a:ext cx="154925" cy="558826"/>
              </a:xfrm>
              <a:custGeom>
                <a:avLst/>
                <a:gdLst>
                  <a:gd name="connsiteX0" fmla="*/ 148052 w 154925"/>
                  <a:gd name="connsiteY0" fmla="*/ 11 h 558826"/>
                  <a:gd name="connsiteX1" fmla="*/ 7625 w 154925"/>
                  <a:gd name="connsiteY1" fmla="*/ 11 h 558826"/>
                  <a:gd name="connsiteX2" fmla="*/ 8 w 154925"/>
                  <a:gd name="connsiteY2" fmla="*/ 6743 h 558826"/>
                  <a:gd name="connsiteX3" fmla="*/ 21 w 154925"/>
                  <a:gd name="connsiteY3" fmla="*/ 7649 h 558826"/>
                  <a:gd name="connsiteX4" fmla="*/ 21 w 154925"/>
                  <a:gd name="connsiteY4" fmla="*/ 551921 h 558826"/>
                  <a:gd name="connsiteX5" fmla="*/ 7233 w 154925"/>
                  <a:gd name="connsiteY5" fmla="*/ 558825 h 558826"/>
                  <a:gd name="connsiteX6" fmla="*/ 7625 w 154925"/>
                  <a:gd name="connsiteY6" fmla="*/ 558808 h 558826"/>
                  <a:gd name="connsiteX7" fmla="*/ 148052 w 154925"/>
                  <a:gd name="connsiteY7" fmla="*/ 558808 h 558826"/>
                  <a:gd name="connsiteX8" fmla="*/ 154896 w 154925"/>
                  <a:gd name="connsiteY8" fmla="*/ 552048 h 558826"/>
                  <a:gd name="connsiteX9" fmla="*/ 154896 w 154925"/>
                  <a:gd name="connsiteY9" fmla="*/ 551921 h 558826"/>
                  <a:gd name="connsiteX10" fmla="*/ 154896 w 154925"/>
                  <a:gd name="connsiteY10" fmla="*/ 7649 h 558826"/>
                  <a:gd name="connsiteX11" fmla="*/ 148470 w 154925"/>
                  <a:gd name="connsiteY11" fmla="*/ 36 h 558826"/>
                  <a:gd name="connsiteX12" fmla="*/ 148052 w 154925"/>
                  <a:gd name="connsiteY12" fmla="*/ 11 h 55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4925" h="558826">
                    <a:moveTo>
                      <a:pt x="148052" y="11"/>
                    </a:moveTo>
                    <a:lnTo>
                      <a:pt x="7625" y="11"/>
                    </a:lnTo>
                    <a:cubicBezTo>
                      <a:pt x="3646" y="-207"/>
                      <a:pt x="237" y="2807"/>
                      <a:pt x="8" y="6743"/>
                    </a:cubicBezTo>
                    <a:cubicBezTo>
                      <a:pt x="-4" y="7045"/>
                      <a:pt x="-4" y="7347"/>
                      <a:pt x="21" y="7649"/>
                    </a:cubicBezTo>
                    <a:lnTo>
                      <a:pt x="21" y="551921"/>
                    </a:lnTo>
                    <a:cubicBezTo>
                      <a:pt x="84" y="555793"/>
                      <a:pt x="3304" y="558884"/>
                      <a:pt x="7233" y="558825"/>
                    </a:cubicBezTo>
                    <a:cubicBezTo>
                      <a:pt x="7359" y="558823"/>
                      <a:pt x="7499" y="558817"/>
                      <a:pt x="7625" y="558808"/>
                    </a:cubicBezTo>
                    <a:lnTo>
                      <a:pt x="148052" y="558808"/>
                    </a:lnTo>
                    <a:cubicBezTo>
                      <a:pt x="151829" y="558809"/>
                      <a:pt x="154896" y="555782"/>
                      <a:pt x="154896" y="552048"/>
                    </a:cubicBezTo>
                    <a:cubicBezTo>
                      <a:pt x="154896" y="552005"/>
                      <a:pt x="154896" y="551964"/>
                      <a:pt x="154896" y="551921"/>
                    </a:cubicBezTo>
                    <a:lnTo>
                      <a:pt x="154896" y="7649"/>
                    </a:lnTo>
                    <a:cubicBezTo>
                      <a:pt x="155251" y="3792"/>
                      <a:pt x="152374" y="384"/>
                      <a:pt x="148470" y="36"/>
                    </a:cubicBezTo>
                    <a:cubicBezTo>
                      <a:pt x="148331" y="24"/>
                      <a:pt x="148191" y="15"/>
                      <a:pt x="148052" y="11"/>
                    </a:cubicBezTo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3" name="Freihandform 12">
                <a:extLst>
                  <a:ext uri="{FF2B5EF4-FFF2-40B4-BE49-F238E27FC236}">
                    <a16:creationId xmlns:a16="http://schemas.microsoft.com/office/drawing/2014/main" id="{1C85E701-8319-494D-929D-05B22E212284}"/>
                  </a:ext>
                </a:extLst>
              </p:cNvPr>
              <p:cNvSpPr/>
              <p:nvPr/>
            </p:nvSpPr>
            <p:spPr>
              <a:xfrm>
                <a:off x="10561933" y="451842"/>
                <a:ext cx="155256" cy="558796"/>
              </a:xfrm>
              <a:custGeom>
                <a:avLst/>
                <a:gdLst>
                  <a:gd name="connsiteX0" fmla="*/ 155255 w 155256"/>
                  <a:gd name="connsiteY0" fmla="*/ 551910 h 558796"/>
                  <a:gd name="connsiteX1" fmla="*/ 148538 w 155256"/>
                  <a:gd name="connsiteY1" fmla="*/ 558795 h 558796"/>
                  <a:gd name="connsiteX2" fmla="*/ 148411 w 155256"/>
                  <a:gd name="connsiteY2" fmla="*/ 558797 h 558796"/>
                  <a:gd name="connsiteX3" fmla="*/ 6844 w 155256"/>
                  <a:gd name="connsiteY3" fmla="*/ 558797 h 558796"/>
                  <a:gd name="connsiteX4" fmla="*/ 0 w 155256"/>
                  <a:gd name="connsiteY4" fmla="*/ 552037 h 558796"/>
                  <a:gd name="connsiteX5" fmla="*/ 0 w 155256"/>
                  <a:gd name="connsiteY5" fmla="*/ 551910 h 558796"/>
                  <a:gd name="connsiteX6" fmla="*/ 0 w 155256"/>
                  <a:gd name="connsiteY6" fmla="*/ 6886 h 558796"/>
                  <a:gd name="connsiteX7" fmla="*/ 6844 w 155256"/>
                  <a:gd name="connsiteY7" fmla="*/ 0 h 558796"/>
                  <a:gd name="connsiteX8" fmla="*/ 148031 w 155256"/>
                  <a:gd name="connsiteY8" fmla="*/ 0 h 558796"/>
                  <a:gd name="connsiteX9" fmla="*/ 154875 w 155256"/>
                  <a:gd name="connsiteY9" fmla="*/ 6886 h 558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5256" h="558796">
                    <a:moveTo>
                      <a:pt x="155255" y="551910"/>
                    </a:moveTo>
                    <a:cubicBezTo>
                      <a:pt x="155331" y="555644"/>
                      <a:pt x="152314" y="558727"/>
                      <a:pt x="148538" y="558795"/>
                    </a:cubicBezTo>
                    <a:cubicBezTo>
                      <a:pt x="148500" y="558797"/>
                      <a:pt x="148449" y="558797"/>
                      <a:pt x="148411" y="558797"/>
                    </a:cubicBezTo>
                    <a:lnTo>
                      <a:pt x="6844" y="558797"/>
                    </a:lnTo>
                    <a:cubicBezTo>
                      <a:pt x="3067" y="558798"/>
                      <a:pt x="0" y="555770"/>
                      <a:pt x="0" y="552037"/>
                    </a:cubicBezTo>
                    <a:cubicBezTo>
                      <a:pt x="0" y="551994"/>
                      <a:pt x="0" y="551953"/>
                      <a:pt x="0" y="551910"/>
                    </a:cubicBezTo>
                    <a:lnTo>
                      <a:pt x="0" y="6886"/>
                    </a:lnTo>
                    <a:cubicBezTo>
                      <a:pt x="0" y="3132"/>
                      <a:pt x="3042" y="68"/>
                      <a:pt x="6844" y="0"/>
                    </a:cubicBezTo>
                    <a:lnTo>
                      <a:pt x="148031" y="0"/>
                    </a:lnTo>
                    <a:cubicBezTo>
                      <a:pt x="151833" y="68"/>
                      <a:pt x="154875" y="3132"/>
                      <a:pt x="154875" y="6886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  <p:sp>
            <p:nvSpPr>
              <p:cNvPr id="14" name="Freihandform 13">
                <a:extLst>
                  <a:ext uri="{FF2B5EF4-FFF2-40B4-BE49-F238E27FC236}">
                    <a16:creationId xmlns:a16="http://schemas.microsoft.com/office/drawing/2014/main" id="{DD96E490-3CFE-BA42-A9CB-CA8A9098BE59}"/>
                  </a:ext>
                </a:extLst>
              </p:cNvPr>
              <p:cNvSpPr/>
              <p:nvPr/>
            </p:nvSpPr>
            <p:spPr>
              <a:xfrm>
                <a:off x="10767549" y="451842"/>
                <a:ext cx="293861" cy="558845"/>
              </a:xfrm>
              <a:custGeom>
                <a:avLst/>
                <a:gdLst>
                  <a:gd name="connsiteX0" fmla="*/ 161546 w 293861"/>
                  <a:gd name="connsiteY0" fmla="*/ 365102 h 558845"/>
                  <a:gd name="connsiteX1" fmla="*/ 293861 w 293861"/>
                  <a:gd name="connsiteY1" fmla="*/ 188436 h 558845"/>
                  <a:gd name="connsiteX2" fmla="*/ 35314 w 293861"/>
                  <a:gd name="connsiteY2" fmla="*/ 0 h 558845"/>
                  <a:gd name="connsiteX3" fmla="*/ 7052 w 293861"/>
                  <a:gd name="connsiteY3" fmla="*/ 0 h 558845"/>
                  <a:gd name="connsiteX4" fmla="*/ 81 w 293861"/>
                  <a:gd name="connsiteY4" fmla="*/ 6886 h 558845"/>
                  <a:gd name="connsiteX5" fmla="*/ 81 w 293861"/>
                  <a:gd name="connsiteY5" fmla="*/ 128963 h 558845"/>
                  <a:gd name="connsiteX6" fmla="*/ 7052 w 293861"/>
                  <a:gd name="connsiteY6" fmla="*/ 135849 h 558845"/>
                  <a:gd name="connsiteX7" fmla="*/ 52044 w 293861"/>
                  <a:gd name="connsiteY7" fmla="*/ 135849 h 558845"/>
                  <a:gd name="connsiteX8" fmla="*/ 136959 w 293861"/>
                  <a:gd name="connsiteY8" fmla="*/ 203210 h 558845"/>
                  <a:gd name="connsiteX9" fmla="*/ 52931 w 293861"/>
                  <a:gd name="connsiteY9" fmla="*/ 269945 h 558845"/>
                  <a:gd name="connsiteX10" fmla="*/ 7052 w 293861"/>
                  <a:gd name="connsiteY10" fmla="*/ 269945 h 558845"/>
                  <a:gd name="connsiteX11" fmla="*/ 81 w 293861"/>
                  <a:gd name="connsiteY11" fmla="*/ 276706 h 558845"/>
                  <a:gd name="connsiteX12" fmla="*/ 81 w 293861"/>
                  <a:gd name="connsiteY12" fmla="*/ 383633 h 558845"/>
                  <a:gd name="connsiteX13" fmla="*/ 3249 w 293861"/>
                  <a:gd name="connsiteY13" fmla="*/ 394275 h 558845"/>
                  <a:gd name="connsiteX14" fmla="*/ 112498 w 293861"/>
                  <a:gd name="connsiteY14" fmla="*/ 555792 h 558845"/>
                  <a:gd name="connsiteX15" fmla="*/ 118708 w 293861"/>
                  <a:gd name="connsiteY15" fmla="*/ 558797 h 558845"/>
                  <a:gd name="connsiteX16" fmla="*/ 281568 w 293861"/>
                  <a:gd name="connsiteY16" fmla="*/ 558797 h 558845"/>
                  <a:gd name="connsiteX17" fmla="*/ 288538 w 293861"/>
                  <a:gd name="connsiteY17" fmla="*/ 555041 h 558845"/>
                  <a:gd name="connsiteX18" fmla="*/ 287651 w 293861"/>
                  <a:gd name="connsiteY18" fmla="*/ 548154 h 558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3861" h="558845">
                    <a:moveTo>
                      <a:pt x="161546" y="365102"/>
                    </a:moveTo>
                    <a:cubicBezTo>
                      <a:pt x="161546" y="365102"/>
                      <a:pt x="293861" y="327540"/>
                      <a:pt x="293861" y="188436"/>
                    </a:cubicBezTo>
                    <a:cubicBezTo>
                      <a:pt x="293861" y="0"/>
                      <a:pt x="110977" y="0"/>
                      <a:pt x="35314" y="0"/>
                    </a:cubicBezTo>
                    <a:lnTo>
                      <a:pt x="7052" y="0"/>
                    </a:lnTo>
                    <a:cubicBezTo>
                      <a:pt x="3199" y="0"/>
                      <a:pt x="81" y="3083"/>
                      <a:pt x="81" y="6886"/>
                    </a:cubicBezTo>
                    <a:lnTo>
                      <a:pt x="81" y="128963"/>
                    </a:lnTo>
                    <a:cubicBezTo>
                      <a:pt x="81" y="132766"/>
                      <a:pt x="3199" y="135849"/>
                      <a:pt x="7052" y="135849"/>
                    </a:cubicBezTo>
                    <a:lnTo>
                      <a:pt x="52044" y="135849"/>
                    </a:lnTo>
                    <a:cubicBezTo>
                      <a:pt x="73589" y="135849"/>
                      <a:pt x="136959" y="139605"/>
                      <a:pt x="136959" y="203210"/>
                    </a:cubicBezTo>
                    <a:cubicBezTo>
                      <a:pt x="136959" y="266815"/>
                      <a:pt x="71308" y="269945"/>
                      <a:pt x="52931" y="269945"/>
                    </a:cubicBezTo>
                    <a:lnTo>
                      <a:pt x="7052" y="269945"/>
                    </a:lnTo>
                    <a:cubicBezTo>
                      <a:pt x="3249" y="269945"/>
                      <a:pt x="144" y="272953"/>
                      <a:pt x="81" y="276706"/>
                    </a:cubicBezTo>
                    <a:lnTo>
                      <a:pt x="81" y="383633"/>
                    </a:lnTo>
                    <a:cubicBezTo>
                      <a:pt x="-325" y="387454"/>
                      <a:pt x="803" y="391282"/>
                      <a:pt x="3249" y="394275"/>
                    </a:cubicBezTo>
                    <a:lnTo>
                      <a:pt x="112498" y="555792"/>
                    </a:lnTo>
                    <a:cubicBezTo>
                      <a:pt x="113918" y="557771"/>
                      <a:pt x="116250" y="558902"/>
                      <a:pt x="118708" y="558797"/>
                    </a:cubicBezTo>
                    <a:lnTo>
                      <a:pt x="281568" y="558797"/>
                    </a:lnTo>
                    <a:cubicBezTo>
                      <a:pt x="284470" y="559140"/>
                      <a:pt x="287258" y="557632"/>
                      <a:pt x="288538" y="555041"/>
                    </a:cubicBezTo>
                    <a:cubicBezTo>
                      <a:pt x="289337" y="552733"/>
                      <a:pt x="289007" y="550191"/>
                      <a:pt x="287651" y="548154"/>
                    </a:cubicBezTo>
                    <a:close/>
                  </a:path>
                </a:pathLst>
              </a:custGeom>
              <a:solidFill>
                <a:srgbClr val="1C3E76"/>
              </a:solidFill>
              <a:ln w="126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noProof="0" dirty="0"/>
              </a:p>
            </p:txBody>
          </p:sp>
        </p:grpSp>
      </p:grpSp>
      <p:sp>
        <p:nvSpPr>
          <p:cNvPr id="31" name="Textplatzhalter 22">
            <a:extLst>
              <a:ext uri="{FF2B5EF4-FFF2-40B4-BE49-F238E27FC236}">
                <a16:creationId xmlns:a16="http://schemas.microsoft.com/office/drawing/2014/main" id="{9D8F14CE-8DE6-754F-B996-6B84FAFF0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3636" y="2034110"/>
            <a:ext cx="10656887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Section Title</a:t>
            </a:r>
          </a:p>
        </p:txBody>
      </p:sp>
      <p:sp>
        <p:nvSpPr>
          <p:cNvPr id="50" name="Textplatzhalter 22">
            <a:extLst>
              <a:ext uri="{FF2B5EF4-FFF2-40B4-BE49-F238E27FC236}">
                <a16:creationId xmlns:a16="http://schemas.microsoft.com/office/drawing/2014/main" id="{7243943D-83A2-A34B-B322-C6545FF3AE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3636" y="2583907"/>
            <a:ext cx="10656887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Section Title</a:t>
            </a:r>
          </a:p>
        </p:txBody>
      </p:sp>
      <p:sp>
        <p:nvSpPr>
          <p:cNvPr id="51" name="Textplatzhalter 22">
            <a:extLst>
              <a:ext uri="{FF2B5EF4-FFF2-40B4-BE49-F238E27FC236}">
                <a16:creationId xmlns:a16="http://schemas.microsoft.com/office/drawing/2014/main" id="{D71FADCE-8DBC-944E-A06B-D3473D8E16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636" y="3133704"/>
            <a:ext cx="10656887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Section Title</a:t>
            </a:r>
          </a:p>
        </p:txBody>
      </p:sp>
      <p:sp>
        <p:nvSpPr>
          <p:cNvPr id="52" name="Textplatzhalter 22">
            <a:extLst>
              <a:ext uri="{FF2B5EF4-FFF2-40B4-BE49-F238E27FC236}">
                <a16:creationId xmlns:a16="http://schemas.microsoft.com/office/drawing/2014/main" id="{3D81AE9F-283F-A04F-B383-EA65D16A06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63636" y="3683501"/>
            <a:ext cx="10656887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Section Title</a:t>
            </a:r>
          </a:p>
        </p:txBody>
      </p:sp>
      <p:sp>
        <p:nvSpPr>
          <p:cNvPr id="53" name="Textplatzhalter 22">
            <a:extLst>
              <a:ext uri="{FF2B5EF4-FFF2-40B4-BE49-F238E27FC236}">
                <a16:creationId xmlns:a16="http://schemas.microsoft.com/office/drawing/2014/main" id="{3CDDA6DA-5B9F-3340-B747-1E53A62C5B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3636" y="4233299"/>
            <a:ext cx="10656887" cy="431800"/>
          </a:xfrm>
        </p:spPr>
        <p:txBody>
          <a:bodyPr anchor="ctr">
            <a:noAutofit/>
          </a:bodyPr>
          <a:lstStyle>
            <a:lvl1pPr>
              <a:lnSpc>
                <a:spcPct val="150000"/>
              </a:lnSpc>
              <a:defRPr sz="1900" b="1">
                <a:solidFill>
                  <a:schemeClr val="accent1"/>
                </a:solidFill>
              </a:defRPr>
            </a:lvl1pPr>
            <a:lvl2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2pPr>
            <a:lvl3pPr>
              <a:lnSpc>
                <a:spcPct val="150000"/>
              </a:lnSpc>
              <a:defRPr sz="1800" b="1">
                <a:solidFill>
                  <a:schemeClr val="accent2"/>
                </a:solidFill>
              </a:defRPr>
            </a:lvl3pPr>
            <a:lvl4pPr>
              <a:lnSpc>
                <a:spcPct val="150000"/>
              </a:lnSpc>
              <a:defRPr sz="1600" b="1">
                <a:solidFill>
                  <a:schemeClr val="accent2"/>
                </a:solidFill>
              </a:defRPr>
            </a:lvl4pPr>
            <a:lvl5pPr>
              <a:lnSpc>
                <a:spcPct val="150000"/>
              </a:lnSpc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dirty="0"/>
              <a:t>Section Title</a:t>
            </a:r>
          </a:p>
        </p:txBody>
      </p:sp>
      <p:sp>
        <p:nvSpPr>
          <p:cNvPr id="25" name="Datumsplatzhalter 24">
            <a:extLst>
              <a:ext uri="{FF2B5EF4-FFF2-40B4-BE49-F238E27FC236}">
                <a16:creationId xmlns:a16="http://schemas.microsoft.com/office/drawing/2014/main" id="{FEB1642E-2559-FA46-9DB3-9EB530DB507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BB88C641-AE6B-EE43-9A1A-CD02F12884B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94F76AA5-864B-8046-9F01-EDE2B591E57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07333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Holder 2">
            <a:extLst>
              <a:ext uri="{FF2B5EF4-FFF2-40B4-BE49-F238E27FC236}">
                <a16:creationId xmlns:a16="http://schemas.microsoft.com/office/drawing/2014/main" id="{A468DEC2-DAF2-E24E-9410-660AE120B4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20551" y="6562797"/>
            <a:ext cx="3266632" cy="133984"/>
          </a:xfrm>
          <a:prstGeom prst="rect">
            <a:avLst/>
          </a:prstGeom>
        </p:spPr>
        <p:txBody>
          <a:bodyPr lIns="0" tIns="0" rIns="0" bIns="0"/>
          <a:lstStyle>
            <a:lvl1pPr>
              <a:defRPr lang="de-DE" sz="700" b="0" i="0" u="none" strike="noStrike" smtClean="0">
                <a:solidFill>
                  <a:schemeClr val="tx2"/>
                </a:solidFill>
                <a:effectLst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en-US" noProof="0" dirty="0"/>
              <a:t>Unrestricted, Restricted, Confidential, Secret</a:t>
            </a:r>
          </a:p>
        </p:txBody>
      </p:sp>
      <p:sp>
        <p:nvSpPr>
          <p:cNvPr id="11" name="Holder 3">
            <a:extLst>
              <a:ext uri="{FF2B5EF4-FFF2-40B4-BE49-F238E27FC236}">
                <a16:creationId xmlns:a16="http://schemas.microsoft.com/office/drawing/2014/main" id="{49E97A45-246C-8048-BFCA-E99B099AB8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63638" y="6562797"/>
            <a:ext cx="981075" cy="133984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pc="-5" noProof="0" dirty="0"/>
              <a:t>Date</a:t>
            </a:r>
            <a:endParaRPr lang="en-US" spc="-5" noProof="0" dirty="0"/>
          </a:p>
        </p:txBody>
      </p:sp>
      <p:sp>
        <p:nvSpPr>
          <p:cNvPr id="12" name="Holder 4">
            <a:extLst>
              <a:ext uri="{FF2B5EF4-FFF2-40B4-BE49-F238E27FC236}">
                <a16:creationId xmlns:a16="http://schemas.microsoft.com/office/drawing/2014/main" id="{7DCC142C-8471-F247-97FA-52439A11A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3195" y="6562797"/>
            <a:ext cx="302605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 b="0" i="0">
                <a:solidFill>
                  <a:srgbClr val="003B7D"/>
                </a:solidFill>
                <a:latin typeface="Verdana"/>
                <a:cs typeface="Verdana"/>
              </a:defRPr>
            </a:lvl1pPr>
          </a:lstStyle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‹Nr.›</a:t>
            </a:fld>
            <a:endParaRPr lang="en-US" noProof="0" dirty="0"/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C298ED1C-4276-DF4C-80BE-CD8B3212E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441325"/>
            <a:ext cx="3329758" cy="618049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91440" tIns="36000" rIns="91440" bIns="0" rtlCol="0" anchor="ctr">
            <a:sp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763BC64A-9E0F-0849-A043-C67435A9BE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48431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dirty="0"/>
              <a:t>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object 84">
            <a:extLst>
              <a:ext uri="{FF2B5EF4-FFF2-40B4-BE49-F238E27FC236}">
                <a16:creationId xmlns:a16="http://schemas.microsoft.com/office/drawing/2014/main" id="{53387FC5-28A8-9F4C-ACC1-FF6151BF83A7}"/>
              </a:ext>
            </a:extLst>
          </p:cNvPr>
          <p:cNvSpPr/>
          <p:nvPr userDrawn="1"/>
        </p:nvSpPr>
        <p:spPr>
          <a:xfrm>
            <a:off x="371475" y="6416674"/>
            <a:ext cx="8857983" cy="107722"/>
          </a:xfrm>
          <a:custGeom>
            <a:avLst/>
            <a:gdLst/>
            <a:ahLst/>
            <a:cxnLst/>
            <a:rect l="l" t="t" r="r" b="b"/>
            <a:pathLst>
              <a:path w="9547225">
                <a:moveTo>
                  <a:pt x="0" y="0"/>
                </a:moveTo>
                <a:lnTo>
                  <a:pt x="9547199" y="0"/>
                </a:lnTo>
              </a:path>
            </a:pathLst>
          </a:custGeom>
          <a:ln w="10160">
            <a:solidFill>
              <a:srgbClr val="003B7D"/>
            </a:solidFill>
          </a:ln>
        </p:spPr>
        <p:txBody>
          <a:bodyPr wrap="square" lIns="0" tIns="0" rIns="0" bIns="0" rtlCol="0"/>
          <a:lstStyle/>
          <a:p>
            <a:endParaRPr lang="en-US" noProof="0" dirty="0"/>
          </a:p>
        </p:txBody>
      </p:sp>
      <p:sp>
        <p:nvSpPr>
          <p:cNvPr id="16" name="Holder 2">
            <a:extLst>
              <a:ext uri="{FF2B5EF4-FFF2-40B4-BE49-F238E27FC236}">
                <a16:creationId xmlns:a16="http://schemas.microsoft.com/office/drawing/2014/main" id="{32549E8C-E711-2B4E-9371-0F3F400E1120}"/>
              </a:ext>
            </a:extLst>
          </p:cNvPr>
          <p:cNvSpPr txBox="1">
            <a:spLocks/>
          </p:cNvSpPr>
          <p:nvPr userDrawn="1"/>
        </p:nvSpPr>
        <p:spPr>
          <a:xfrm>
            <a:off x="2523939" y="6562797"/>
            <a:ext cx="1014729" cy="133984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rgbClr val="003B7D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noProof="0" dirty="0"/>
              <a:t>© METRO</a:t>
            </a:r>
            <a:r>
              <a:rPr lang="en-US" spc="-70" noProof="0" dirty="0"/>
              <a:t> </a:t>
            </a:r>
            <a:r>
              <a:rPr lang="en-US" noProof="0" dirty="0"/>
              <a:t>AG.</a:t>
            </a:r>
          </a:p>
        </p:txBody>
      </p:sp>
    </p:spTree>
    <p:extLst>
      <p:ext uri="{BB962C8B-B14F-4D97-AF65-F5344CB8AC3E}">
        <p14:creationId xmlns:p14="http://schemas.microsoft.com/office/powerpoint/2010/main" val="1216650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651" r:id="rId2"/>
    <p:sldLayoutId id="2147483661" r:id="rId3"/>
    <p:sldLayoutId id="2147483659" r:id="rId4"/>
    <p:sldLayoutId id="2147483716" r:id="rId5"/>
    <p:sldLayoutId id="2147483718" r:id="rId6"/>
    <p:sldLayoutId id="2147483713" r:id="rId7"/>
    <p:sldLayoutId id="2147483724" r:id="rId8"/>
    <p:sldLayoutId id="2147483711" r:id="rId9"/>
    <p:sldLayoutId id="2147483699" r:id="rId10"/>
    <p:sldLayoutId id="2147483696" r:id="rId11"/>
    <p:sldLayoutId id="2147483671" r:id="rId12"/>
    <p:sldLayoutId id="2147483708" r:id="rId13"/>
    <p:sldLayoutId id="2147483691" r:id="rId14"/>
    <p:sldLayoutId id="2147483715" r:id="rId15"/>
    <p:sldLayoutId id="2147483685" r:id="rId16"/>
    <p:sldLayoutId id="2147483684" r:id="rId17"/>
    <p:sldLayoutId id="2147483722" r:id="rId18"/>
    <p:sldLayoutId id="2147483701" r:id="rId19"/>
    <p:sldLayoutId id="2147483668" r:id="rId20"/>
    <p:sldLayoutId id="2147483689" r:id="rId21"/>
    <p:sldLayoutId id="2147483669" r:id="rId22"/>
    <p:sldLayoutId id="2147483670" r:id="rId23"/>
    <p:sldLayoutId id="2147483672" r:id="rId24"/>
    <p:sldLayoutId id="2147483693" r:id="rId25"/>
    <p:sldLayoutId id="2147483726" r:id="rId26"/>
    <p:sldLayoutId id="2147483727" r:id="rId27"/>
    <p:sldLayoutId id="2147483688" r:id="rId28"/>
    <p:sldLayoutId id="2147483687" r:id="rId29"/>
    <p:sldLayoutId id="2147483686" r:id="rId30"/>
    <p:sldLayoutId id="2147483680" r:id="rId31"/>
    <p:sldLayoutId id="2147483676" r:id="rId32"/>
    <p:sldLayoutId id="2147483728" r:id="rId33"/>
    <p:sldLayoutId id="2147483698" r:id="rId34"/>
    <p:sldLayoutId id="2147483697" r:id="rId35"/>
    <p:sldLayoutId id="2147483738" r:id="rId36"/>
    <p:sldLayoutId id="2147483743" r:id="rId37"/>
    <p:sldLayoutId id="2147483744" r:id="rId38"/>
    <p:sldLayoutId id="2147483742" r:id="rId39"/>
    <p:sldLayoutId id="2147483745" r:id="rId40"/>
    <p:sldLayoutId id="2147483747" r:id="rId41"/>
    <p:sldLayoutId id="2147483748" r:id="rId42"/>
    <p:sldLayoutId id="2147483749" r:id="rId43"/>
    <p:sldLayoutId id="2147483750" r:id="rId44"/>
    <p:sldLayoutId id="2147483751" r:id="rId45"/>
    <p:sldLayoutId id="2147483752" r:id="rId46"/>
    <p:sldLayoutId id="2147483753" r:id="rId47"/>
    <p:sldLayoutId id="2147483754" r:id="rId4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200" b="1" i="0" kern="1200">
          <a:solidFill>
            <a:schemeClr val="accent2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23838" indent="-223838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F0000"/>
        </a:buClr>
        <a:buFont typeface="Symbol" pitchFamily="2" charset="2"/>
        <a:buChar char="-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57943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58825" indent="-17938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 userDrawn="1">
          <p15:clr>
            <a:srgbClr val="F26B43"/>
          </p15:clr>
        </p15:guide>
        <p15:guide id="3" pos="733" userDrawn="1">
          <p15:clr>
            <a:srgbClr val="F26B43"/>
          </p15:clr>
        </p15:guide>
        <p15:guide id="4" pos="5269" userDrawn="1">
          <p15:clr>
            <a:srgbClr val="F26B43"/>
          </p15:clr>
        </p15:guide>
        <p15:guide id="5" pos="7446" userDrawn="1">
          <p15:clr>
            <a:srgbClr val="F26B43"/>
          </p15:clr>
        </p15:guide>
        <p15:guide id="8" orient="horz" pos="640" userDrawn="1">
          <p15:clr>
            <a:srgbClr val="F26B43"/>
          </p15:clr>
        </p15:guide>
        <p15:guide id="9" orient="horz" pos="278" userDrawn="1">
          <p15:clr>
            <a:srgbClr val="F26B43"/>
          </p15:clr>
        </p15:guide>
        <p15:guide id="10" orient="horz" pos="4042" userDrawn="1">
          <p15:clr>
            <a:srgbClr val="F26B43"/>
          </p15:clr>
        </p15:guide>
        <p15:guide id="11" pos="234" userDrawn="1">
          <p15:clr>
            <a:srgbClr val="F26B43"/>
          </p15:clr>
        </p15:guide>
        <p15:guide id="12" orient="horz" pos="935" userDrawn="1">
          <p15:clr>
            <a:srgbClr val="F26B43"/>
          </p15:clr>
        </p15:guide>
        <p15:guide id="13" pos="2411" userDrawn="1">
          <p15:clr>
            <a:srgbClr val="F26B43"/>
          </p15:clr>
        </p15:guide>
        <p15:guide id="14" orient="horz" pos="2160" userDrawn="1">
          <p15:clr>
            <a:srgbClr val="F26B43"/>
          </p15:clr>
        </p15:guide>
        <p15:guide id="15" orient="horz" pos="3906" userDrawn="1">
          <p15:clr>
            <a:srgbClr val="F26B43"/>
          </p15:clr>
        </p15:guide>
        <p15:guide id="16" orient="horz" pos="1207" userDrawn="1">
          <p15:clr>
            <a:srgbClr val="F26B43"/>
          </p15:clr>
        </p15:guide>
        <p15:guide id="17" pos="8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8.tif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42.xml"/><Relationship Id="rId4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emf"/><Relationship Id="rId13" Type="http://schemas.openxmlformats.org/officeDocument/2006/relationships/image" Target="../media/image48.png"/><Relationship Id="rId3" Type="http://schemas.openxmlformats.org/officeDocument/2006/relationships/image" Target="../media/image39.png"/><Relationship Id="rId7" Type="http://schemas.openxmlformats.org/officeDocument/2006/relationships/oleObject" Target="../embeddings/oleObject1.bin"/><Relationship Id="rId12" Type="http://schemas.openxmlformats.org/officeDocument/2006/relationships/image" Target="../media/image47.png"/><Relationship Id="rId17" Type="http://schemas.openxmlformats.org/officeDocument/2006/relationships/image" Target="../media/image52.jpg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51.png"/><Relationship Id="rId1" Type="http://schemas.openxmlformats.org/officeDocument/2006/relationships/tags" Target="../tags/tag5.xml"/><Relationship Id="rId6" Type="http://schemas.openxmlformats.org/officeDocument/2006/relationships/image" Target="../media/image42.png"/><Relationship Id="rId11" Type="http://schemas.openxmlformats.org/officeDocument/2006/relationships/image" Target="../media/image46.png"/><Relationship Id="rId5" Type="http://schemas.openxmlformats.org/officeDocument/2006/relationships/image" Target="../media/image41.png"/><Relationship Id="rId15" Type="http://schemas.openxmlformats.org/officeDocument/2006/relationships/image" Target="../media/image50.jpg"/><Relationship Id="rId10" Type="http://schemas.openxmlformats.org/officeDocument/2006/relationships/image" Target="../media/image45.png"/><Relationship Id="rId4" Type="http://schemas.openxmlformats.org/officeDocument/2006/relationships/image" Target="../media/image40.png"/><Relationship Id="rId9" Type="http://schemas.openxmlformats.org/officeDocument/2006/relationships/image" Target="../media/image44.png"/><Relationship Id="rId1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5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22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5.png"/><Relationship Id="rId7" Type="http://schemas.microsoft.com/office/2007/relationships/hdphoto" Target="../media/hdphoto4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27.png"/><Relationship Id="rId11" Type="http://schemas.openxmlformats.org/officeDocument/2006/relationships/image" Target="../media/image30.jpeg"/><Relationship Id="rId5" Type="http://schemas.microsoft.com/office/2007/relationships/hdphoto" Target="../media/hdphoto3.wdp"/><Relationship Id="rId10" Type="http://schemas.openxmlformats.org/officeDocument/2006/relationships/hyperlink" Target="https://www.gs1.org/services/verified-by-gs1" TargetMode="External"/><Relationship Id="rId4" Type="http://schemas.openxmlformats.org/officeDocument/2006/relationships/image" Target="../media/image26.png"/><Relationship Id="rId9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Ein Bild, das Wand, drinnen, Person, Küche enthält.&#10;&#10;Automatisch generierte Beschreibung">
            <a:extLst>
              <a:ext uri="{FF2B5EF4-FFF2-40B4-BE49-F238E27FC236}">
                <a16:creationId xmlns:a16="http://schemas.microsoft.com/office/drawing/2014/main" id="{7B646FB6-33AD-2546-87A4-C081DF5B5D3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463" y="1916113"/>
            <a:ext cx="7993062" cy="4500562"/>
          </a:xfrm>
        </p:spPr>
      </p:pic>
      <p:sp>
        <p:nvSpPr>
          <p:cNvPr id="15" name="Titel 14">
            <a:extLst>
              <a:ext uri="{FF2B5EF4-FFF2-40B4-BE49-F238E27FC236}">
                <a16:creationId xmlns:a16="http://schemas.microsoft.com/office/drawing/2014/main" id="{72976F95-315B-AD43-85A3-8183415EAB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41325"/>
            <a:ext cx="9079371" cy="1178143"/>
          </a:xfrm>
        </p:spPr>
        <p:txBody>
          <a:bodyPr/>
          <a:lstStyle/>
          <a:p>
            <a:r>
              <a:rPr lang="en-US" sz="4400" dirty="0">
                <a:solidFill>
                  <a:schemeClr val="tx2"/>
                </a:solidFill>
              </a:rPr>
              <a:t>Global standards and benefits of Verified by GS1 </a:t>
            </a:r>
            <a:endParaRPr lang="de-DE" dirty="0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0D048B1E-743E-9147-9CFC-765A36263EA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4592" y="3208273"/>
            <a:ext cx="4770638" cy="1234491"/>
          </a:xfrm>
        </p:spPr>
        <p:txBody>
          <a:bodyPr/>
          <a:lstStyle/>
          <a:p>
            <a:r>
              <a:rPr lang="en-US" dirty="0"/>
              <a:t>Fortifying supply chains</a:t>
            </a:r>
          </a:p>
          <a:p>
            <a:r>
              <a:rPr lang="en-US" dirty="0"/>
              <a:t>understanding standards, </a:t>
            </a:r>
            <a:br>
              <a:rPr lang="en-US" dirty="0"/>
            </a:br>
            <a:r>
              <a:rPr lang="en-US" dirty="0"/>
              <a:t>a common language 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033416F1-7D30-754C-AF0F-D1E4078EA2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3196" y="5881521"/>
            <a:ext cx="3444267" cy="313932"/>
          </a:xfrm>
        </p:spPr>
        <p:txBody>
          <a:bodyPr/>
          <a:lstStyle/>
          <a:p>
            <a:r>
              <a:rPr lang="de-DE" dirty="0"/>
              <a:t>Chrisian Zaeske 11.10.23</a:t>
            </a:r>
          </a:p>
        </p:txBody>
      </p:sp>
    </p:spTree>
    <p:extLst>
      <p:ext uri="{BB962C8B-B14F-4D97-AF65-F5344CB8AC3E}">
        <p14:creationId xmlns:p14="http://schemas.microsoft.com/office/powerpoint/2010/main" val="27948668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545" y="1516184"/>
            <a:ext cx="7127628" cy="42458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scene3d>
            <a:camera prst="perspectiveHeroicExtremeRightFacing" fov="4800000">
              <a:rot lat="175293" lon="19818434" rev="162867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1475" y="455175"/>
            <a:ext cx="4573688" cy="590349"/>
          </a:xfrm>
        </p:spPr>
        <p:txBody>
          <a:bodyPr/>
          <a:lstStyle/>
          <a:p>
            <a:r>
              <a:rPr lang="af-ZA" sz="4000" dirty="0">
                <a:solidFill>
                  <a:schemeClr val="accent2"/>
                </a:solidFill>
              </a:rPr>
              <a:t>Content is K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17" name="Legende mit Linie 1 (ohne Rahmen) 16"/>
          <p:cNvSpPr/>
          <p:nvPr/>
        </p:nvSpPr>
        <p:spPr>
          <a:xfrm>
            <a:off x="7717245" y="2284663"/>
            <a:ext cx="3732264" cy="353612"/>
          </a:xfrm>
          <a:prstGeom prst="callout1">
            <a:avLst>
              <a:gd name="adj1" fmla="val 48287"/>
              <a:gd name="adj2" fmla="val -1853"/>
              <a:gd name="adj3" fmla="val 99841"/>
              <a:gd name="adj4" fmla="val -16519"/>
            </a:avLst>
          </a:prstGeom>
          <a:solidFill>
            <a:schemeClr val="accent1"/>
          </a:solidFill>
          <a:ln>
            <a:solidFill>
              <a:srgbClr val="F26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.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TRO CHEF</a:t>
            </a:r>
          </a:p>
        </p:txBody>
      </p:sp>
      <p:sp>
        <p:nvSpPr>
          <p:cNvPr id="18" name="Legende mit Linie 1 (ohne Rahmen) 17"/>
          <p:cNvSpPr/>
          <p:nvPr/>
        </p:nvSpPr>
        <p:spPr>
          <a:xfrm>
            <a:off x="7717245" y="2689573"/>
            <a:ext cx="3732264" cy="353612"/>
          </a:xfrm>
          <a:prstGeom prst="callout1">
            <a:avLst>
              <a:gd name="adj1" fmla="val 48287"/>
              <a:gd name="adj2" fmla="val -1853"/>
              <a:gd name="adj3" fmla="val 99841"/>
              <a:gd name="adj4" fmla="val -16519"/>
            </a:avLst>
          </a:prstGeom>
          <a:solidFill>
            <a:schemeClr val="accent1"/>
          </a:solidFill>
          <a:ln>
            <a:solidFill>
              <a:srgbClr val="F26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.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g MC ZIEGENWK ROLLE MIND.45</a:t>
            </a:r>
          </a:p>
        </p:txBody>
      </p:sp>
      <p:sp>
        <p:nvSpPr>
          <p:cNvPr id="19" name="Legende mit Linie 1 (ohne Rahmen) 18"/>
          <p:cNvSpPr/>
          <p:nvPr/>
        </p:nvSpPr>
        <p:spPr>
          <a:xfrm>
            <a:off x="7717245" y="3094482"/>
            <a:ext cx="3732264" cy="353612"/>
          </a:xfrm>
          <a:prstGeom prst="callout1">
            <a:avLst>
              <a:gd name="adj1" fmla="val 48287"/>
              <a:gd name="adj2" fmla="val -1853"/>
              <a:gd name="adj3" fmla="val 99841"/>
              <a:gd name="adj4" fmla="val -16519"/>
            </a:avLst>
          </a:prstGeom>
          <a:solidFill>
            <a:schemeClr val="accent1"/>
          </a:solidFill>
          <a:ln>
            <a:solidFill>
              <a:srgbClr val="F26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.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/.</a:t>
            </a:r>
          </a:p>
        </p:txBody>
      </p:sp>
      <p:sp>
        <p:nvSpPr>
          <p:cNvPr id="20" name="Legende mit Linie 1 (ohne Rahmen) 19"/>
          <p:cNvSpPr/>
          <p:nvPr/>
        </p:nvSpPr>
        <p:spPr>
          <a:xfrm>
            <a:off x="7717245" y="3499393"/>
            <a:ext cx="3732264" cy="353612"/>
          </a:xfrm>
          <a:prstGeom prst="callout1">
            <a:avLst>
              <a:gd name="adj1" fmla="val 48287"/>
              <a:gd name="adj2" fmla="val -1853"/>
              <a:gd name="adj3" fmla="val 99841"/>
              <a:gd name="adj4" fmla="val -16519"/>
            </a:avLst>
          </a:prstGeom>
          <a:solidFill>
            <a:schemeClr val="accent1"/>
          </a:solidFill>
          <a:ln>
            <a:solidFill>
              <a:srgbClr val="F26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.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?</a:t>
            </a:r>
          </a:p>
        </p:txBody>
      </p:sp>
      <p:sp>
        <p:nvSpPr>
          <p:cNvPr id="10" name="Legende mit Linie 1 (ohne Rahmen) 9"/>
          <p:cNvSpPr/>
          <p:nvPr/>
        </p:nvSpPr>
        <p:spPr>
          <a:xfrm>
            <a:off x="7729621" y="3904018"/>
            <a:ext cx="3732264" cy="353612"/>
          </a:xfrm>
          <a:prstGeom prst="callout1">
            <a:avLst>
              <a:gd name="adj1" fmla="val 48287"/>
              <a:gd name="adj2" fmla="val -1853"/>
              <a:gd name="adj3" fmla="val 99841"/>
              <a:gd name="adj4" fmla="val -16519"/>
            </a:avLst>
          </a:prstGeom>
          <a:solidFill>
            <a:schemeClr val="accent1"/>
          </a:solidFill>
          <a:ln>
            <a:solidFill>
              <a:srgbClr val="F26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.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 PCS</a:t>
            </a:r>
          </a:p>
        </p:txBody>
      </p:sp>
      <p:sp>
        <p:nvSpPr>
          <p:cNvPr id="11" name="Legende mit Linie 1 (ohne Rahmen) 10"/>
          <p:cNvSpPr/>
          <p:nvPr/>
        </p:nvSpPr>
        <p:spPr>
          <a:xfrm>
            <a:off x="7737657" y="4308689"/>
            <a:ext cx="3732264" cy="353612"/>
          </a:xfrm>
          <a:prstGeom prst="callout1">
            <a:avLst>
              <a:gd name="adj1" fmla="val 48287"/>
              <a:gd name="adj2" fmla="val -1853"/>
              <a:gd name="adj3" fmla="val 99841"/>
              <a:gd name="adj4" fmla="val -16519"/>
            </a:avLst>
          </a:prstGeom>
          <a:solidFill>
            <a:schemeClr val="accent1"/>
          </a:solidFill>
          <a:ln>
            <a:solidFill>
              <a:srgbClr val="F26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.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/. Or product not specified for TM</a:t>
            </a:r>
          </a:p>
        </p:txBody>
      </p:sp>
      <p:sp>
        <p:nvSpPr>
          <p:cNvPr id="13" name="Legende mit Linie 1 (ohne Rahmen) 12"/>
          <p:cNvSpPr/>
          <p:nvPr/>
        </p:nvSpPr>
        <p:spPr>
          <a:xfrm>
            <a:off x="7717245" y="1777547"/>
            <a:ext cx="3732264" cy="353612"/>
          </a:xfrm>
          <a:prstGeom prst="callout1">
            <a:avLst>
              <a:gd name="adj1" fmla="val 48287"/>
              <a:gd name="adj2" fmla="val -1853"/>
              <a:gd name="adj3" fmla="val 99841"/>
              <a:gd name="adj4" fmla="val -16519"/>
            </a:avLst>
          </a:prstGeom>
          <a:solidFill>
            <a:schemeClr val="accent1"/>
          </a:solidFill>
          <a:ln>
            <a:solidFill>
              <a:srgbClr val="F263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s. 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% </a:t>
            </a:r>
            <a:r>
              <a:rPr kumimoji="0" lang="en-US" sz="1200" b="1" i="0" u="none" strike="noStrike" kern="1200" cap="none" spc="0" normalizeH="0" baseline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mpliance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F9AE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GTIN alloc. rules</a:t>
            </a:r>
          </a:p>
        </p:txBody>
      </p:sp>
      <p:grpSp>
        <p:nvGrpSpPr>
          <p:cNvPr id="3" name="Grafik 15">
            <a:extLst>
              <a:ext uri="{FF2B5EF4-FFF2-40B4-BE49-F238E27FC236}">
                <a16:creationId xmlns:a16="http://schemas.microsoft.com/office/drawing/2014/main" id="{EE788133-1BA1-F07D-0588-FBFDB71100E5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5" name="Grafik 15">
              <a:extLst>
                <a:ext uri="{FF2B5EF4-FFF2-40B4-BE49-F238E27FC236}">
                  <a16:creationId xmlns:a16="http://schemas.microsoft.com/office/drawing/2014/main" id="{64A723D1-43BA-14FE-1FB0-7DD722F4DE85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1" name="Freihandform 37">
                <a:extLst>
                  <a:ext uri="{FF2B5EF4-FFF2-40B4-BE49-F238E27FC236}">
                    <a16:creationId xmlns:a16="http://schemas.microsoft.com/office/drawing/2014/main" id="{47049F00-AA72-8D77-38F2-3F4D36A5C54D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2" name="Freihandform 38">
                <a:extLst>
                  <a:ext uri="{FF2B5EF4-FFF2-40B4-BE49-F238E27FC236}">
                    <a16:creationId xmlns:a16="http://schemas.microsoft.com/office/drawing/2014/main" id="{EC4FDEBF-E363-DF2E-AD29-A8B410819F8A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" name="Freihandform 39">
                <a:extLst>
                  <a:ext uri="{FF2B5EF4-FFF2-40B4-BE49-F238E27FC236}">
                    <a16:creationId xmlns:a16="http://schemas.microsoft.com/office/drawing/2014/main" id="{E8E72817-75A9-1F8F-2959-07A509D93D71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4" name="Freihandform 40">
                <a:extLst>
                  <a:ext uri="{FF2B5EF4-FFF2-40B4-BE49-F238E27FC236}">
                    <a16:creationId xmlns:a16="http://schemas.microsoft.com/office/drawing/2014/main" id="{F8F15B0F-DFFF-F860-409E-61ECF80C627F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5" name="Freihandform 41">
                <a:extLst>
                  <a:ext uri="{FF2B5EF4-FFF2-40B4-BE49-F238E27FC236}">
                    <a16:creationId xmlns:a16="http://schemas.microsoft.com/office/drawing/2014/main" id="{D164B4A2-DFAE-08AD-EE7E-D926B6365883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" name="Grafik 15">
              <a:extLst>
                <a:ext uri="{FF2B5EF4-FFF2-40B4-BE49-F238E27FC236}">
                  <a16:creationId xmlns:a16="http://schemas.microsoft.com/office/drawing/2014/main" id="{788E9527-16A2-E7F2-3645-7638265ACBD1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5" name="Freihandform 35">
                <a:extLst>
                  <a:ext uri="{FF2B5EF4-FFF2-40B4-BE49-F238E27FC236}">
                    <a16:creationId xmlns:a16="http://schemas.microsoft.com/office/drawing/2014/main" id="{CA93EAB5-A07D-15ED-0E9D-C592CE630ADA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 36">
                <a:extLst>
                  <a:ext uri="{FF2B5EF4-FFF2-40B4-BE49-F238E27FC236}">
                    <a16:creationId xmlns:a16="http://schemas.microsoft.com/office/drawing/2014/main" id="{D99C44B6-8134-CD7A-5A8C-5789ABC6ABFD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" name="Grafik 15">
              <a:extLst>
                <a:ext uri="{FF2B5EF4-FFF2-40B4-BE49-F238E27FC236}">
                  <a16:creationId xmlns:a16="http://schemas.microsoft.com/office/drawing/2014/main" id="{8DF92326-605C-AC50-A3C6-43BC30C9A4E2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8" name="Freihandform 31">
                <a:extLst>
                  <a:ext uri="{FF2B5EF4-FFF2-40B4-BE49-F238E27FC236}">
                    <a16:creationId xmlns:a16="http://schemas.microsoft.com/office/drawing/2014/main" id="{5110E6C4-6B15-2134-9103-DDD6D0001BE9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" name="Freihandform 32">
                <a:extLst>
                  <a:ext uri="{FF2B5EF4-FFF2-40B4-BE49-F238E27FC236}">
                    <a16:creationId xmlns:a16="http://schemas.microsoft.com/office/drawing/2014/main" id="{74C14DFC-4FDC-A916-6919-1001A614609F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" name="Freihandform 33">
                <a:extLst>
                  <a:ext uri="{FF2B5EF4-FFF2-40B4-BE49-F238E27FC236}">
                    <a16:creationId xmlns:a16="http://schemas.microsoft.com/office/drawing/2014/main" id="{B4ABCD1E-A43E-EBF5-A465-894D5C5CCB51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4" name="Freihandform 34">
                <a:extLst>
                  <a:ext uri="{FF2B5EF4-FFF2-40B4-BE49-F238E27FC236}">
                    <a16:creationId xmlns:a16="http://schemas.microsoft.com/office/drawing/2014/main" id="{A8EA0EDD-6580-C3F2-6138-8F8438373FCC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453178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80FE67-0205-464A-8019-26B2C4E65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455175"/>
            <a:ext cx="7364517" cy="590349"/>
          </a:xfrm>
        </p:spPr>
        <p:txBody>
          <a:bodyPr/>
          <a:lstStyle/>
          <a:p>
            <a:r>
              <a:rPr lang="de-DE" sz="4000" dirty="0"/>
              <a:t>Product </a:t>
            </a:r>
            <a:r>
              <a:rPr lang="en-US" sz="4000" dirty="0"/>
              <a:t>examples</a:t>
            </a:r>
            <a:r>
              <a:rPr lang="de-DE" sz="4000" dirty="0"/>
              <a:t> @ VbG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4822865-EE91-4435-A977-B040AE36F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8ED44A-9262-4286-B9AE-8332485C8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5CE54B-C29A-4A25-9174-59FEA10EAC97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EEEAA17-B466-4A0B-966D-0CC13333C6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0800" y="1452340"/>
            <a:ext cx="5589541" cy="465115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36E8FB8-B2B2-40F5-B362-D2D23A6008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475" y="1452339"/>
            <a:ext cx="6025590" cy="4481735"/>
          </a:xfrm>
          <a:prstGeom prst="rect">
            <a:avLst/>
          </a:prstGeom>
        </p:spPr>
      </p:pic>
      <p:grpSp>
        <p:nvGrpSpPr>
          <p:cNvPr id="3" name="Grafik 15">
            <a:extLst>
              <a:ext uri="{FF2B5EF4-FFF2-40B4-BE49-F238E27FC236}">
                <a16:creationId xmlns:a16="http://schemas.microsoft.com/office/drawing/2014/main" id="{06BE68C5-E726-1429-6270-A152889547ED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7" name="Grafik 15">
              <a:extLst>
                <a:ext uri="{FF2B5EF4-FFF2-40B4-BE49-F238E27FC236}">
                  <a16:creationId xmlns:a16="http://schemas.microsoft.com/office/drawing/2014/main" id="{7F328BBB-A8EE-F1A8-1245-FE8FA1E65EE6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7" name="Freihandform 37">
                <a:extLst>
                  <a:ext uri="{FF2B5EF4-FFF2-40B4-BE49-F238E27FC236}">
                    <a16:creationId xmlns:a16="http://schemas.microsoft.com/office/drawing/2014/main" id="{49E2D2F1-6BB4-E65A-03D7-90A3F08EEE7E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" name="Freihandform 38">
                <a:extLst>
                  <a:ext uri="{FF2B5EF4-FFF2-40B4-BE49-F238E27FC236}">
                    <a16:creationId xmlns:a16="http://schemas.microsoft.com/office/drawing/2014/main" id="{D9F7A762-8078-48EF-A2E3-7813171AC812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39">
                <a:extLst>
                  <a:ext uri="{FF2B5EF4-FFF2-40B4-BE49-F238E27FC236}">
                    <a16:creationId xmlns:a16="http://schemas.microsoft.com/office/drawing/2014/main" id="{4ABE6083-0E94-4D6B-0E0A-4FB7EEB785A5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0" name="Freihandform 40">
                <a:extLst>
                  <a:ext uri="{FF2B5EF4-FFF2-40B4-BE49-F238E27FC236}">
                    <a16:creationId xmlns:a16="http://schemas.microsoft.com/office/drawing/2014/main" id="{57621B58-CCB3-0B4F-E79D-50CF08E1DF41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1" name="Freihandform 41">
                <a:extLst>
                  <a:ext uri="{FF2B5EF4-FFF2-40B4-BE49-F238E27FC236}">
                    <a16:creationId xmlns:a16="http://schemas.microsoft.com/office/drawing/2014/main" id="{4831BBA7-58F0-7040-B8C5-91795E51DB13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" name="Grafik 15">
              <a:extLst>
                <a:ext uri="{FF2B5EF4-FFF2-40B4-BE49-F238E27FC236}">
                  <a16:creationId xmlns:a16="http://schemas.microsoft.com/office/drawing/2014/main" id="{C5378236-CEE8-DA61-5C56-D8E5FCBA6073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5" name="Freihandform 35">
                <a:extLst>
                  <a:ext uri="{FF2B5EF4-FFF2-40B4-BE49-F238E27FC236}">
                    <a16:creationId xmlns:a16="http://schemas.microsoft.com/office/drawing/2014/main" id="{80CCA834-6D83-E95E-8CC9-280CF43A0DC3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 36">
                <a:extLst>
                  <a:ext uri="{FF2B5EF4-FFF2-40B4-BE49-F238E27FC236}">
                    <a16:creationId xmlns:a16="http://schemas.microsoft.com/office/drawing/2014/main" id="{530AC337-856B-EEF4-05C7-4FFA90881EAC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" name="Grafik 15">
              <a:extLst>
                <a:ext uri="{FF2B5EF4-FFF2-40B4-BE49-F238E27FC236}">
                  <a16:creationId xmlns:a16="http://schemas.microsoft.com/office/drawing/2014/main" id="{1057AB01-8C94-3CBC-9D16-0E58735BD839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1" name="Freihandform 31">
                <a:extLst>
                  <a:ext uri="{FF2B5EF4-FFF2-40B4-BE49-F238E27FC236}">
                    <a16:creationId xmlns:a16="http://schemas.microsoft.com/office/drawing/2014/main" id="{C15AEB93-5CBB-0F63-EC4D-B7AA5B8CDAC4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" name="Freihandform 32">
                <a:extLst>
                  <a:ext uri="{FF2B5EF4-FFF2-40B4-BE49-F238E27FC236}">
                    <a16:creationId xmlns:a16="http://schemas.microsoft.com/office/drawing/2014/main" id="{445EFD8F-61E9-A3EB-85E2-81763F9C9BDB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" name="Freihandform 33">
                <a:extLst>
                  <a:ext uri="{FF2B5EF4-FFF2-40B4-BE49-F238E27FC236}">
                    <a16:creationId xmlns:a16="http://schemas.microsoft.com/office/drawing/2014/main" id="{371D228C-59AC-D99F-9FAD-FDB2E37DBAA0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4" name="Freihandform 34">
                <a:extLst>
                  <a:ext uri="{FF2B5EF4-FFF2-40B4-BE49-F238E27FC236}">
                    <a16:creationId xmlns:a16="http://schemas.microsoft.com/office/drawing/2014/main" id="{5C4456F5-F105-E411-61C2-166E25D662BF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80974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A3C289A-C721-4EE2-87B5-474B716A2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3195" y="6562797"/>
            <a:ext cx="302605" cy="107722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700" b="0" i="0" kern="1200">
                <a:solidFill>
                  <a:srgbClr val="003B7D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5CE54B-C29A-4A25-9174-59FEA10EAC97}" type="slidenum">
              <a:rPr lang="en-GB" smtClean="0"/>
              <a:pPr/>
              <a:t>12</a:t>
            </a:fld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51B30AA-4077-4146-95B1-AA4C207BDF7C}"/>
              </a:ext>
            </a:extLst>
          </p:cNvPr>
          <p:cNvGrpSpPr/>
          <p:nvPr/>
        </p:nvGrpSpPr>
        <p:grpSpPr>
          <a:xfrm>
            <a:off x="8828333" y="420663"/>
            <a:ext cx="2992193" cy="1277427"/>
            <a:chOff x="7717401" y="275304"/>
            <a:chExt cx="4099461" cy="1750142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B00F327B-4205-4DFB-B997-C9E281D9B1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8802"/>
            <a:stretch/>
          </p:blipFill>
          <p:spPr>
            <a:xfrm>
              <a:off x="7717401" y="504092"/>
              <a:ext cx="4099461" cy="1382286"/>
            </a:xfrm>
            <a:prstGeom prst="rect">
              <a:avLst/>
            </a:prstGeom>
          </p:spPr>
        </p:pic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EF39BA4-4744-4DE1-830C-7E2613DA83B7}"/>
                </a:ext>
              </a:extLst>
            </p:cNvPr>
            <p:cNvSpPr/>
            <p:nvPr/>
          </p:nvSpPr>
          <p:spPr>
            <a:xfrm>
              <a:off x="7767482" y="275304"/>
              <a:ext cx="2536724" cy="1750142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CF239348-411C-4E44-8209-EC7835C9081B}"/>
              </a:ext>
            </a:extLst>
          </p:cNvPr>
          <p:cNvSpPr txBox="1"/>
          <p:nvPr/>
        </p:nvSpPr>
        <p:spPr>
          <a:xfrm>
            <a:off x="1161576" y="2228607"/>
            <a:ext cx="2129109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/>
            <a:r>
              <a:rPr lang="de-DE" sz="1867" dirty="0">
                <a:solidFill>
                  <a:srgbClr val="000000"/>
                </a:solidFill>
                <a:latin typeface="Verdana"/>
              </a:rPr>
              <a:t>per METRO </a:t>
            </a:r>
            <a:br>
              <a:rPr lang="de-DE" sz="1867" dirty="0">
                <a:solidFill>
                  <a:srgbClr val="000000"/>
                </a:solidFill>
                <a:latin typeface="Verdana"/>
              </a:rPr>
            </a:br>
            <a:r>
              <a:rPr lang="en-US" sz="1867" dirty="0">
                <a:solidFill>
                  <a:srgbClr val="000000"/>
                </a:solidFill>
                <a:latin typeface="Verdana"/>
              </a:rPr>
              <a:t>country</a:t>
            </a:r>
            <a:r>
              <a:rPr lang="de-DE" sz="1867" dirty="0">
                <a:solidFill>
                  <a:srgbClr val="000000"/>
                </a:solidFill>
                <a:latin typeface="Verdana"/>
              </a:rPr>
              <a:t> of sale*</a:t>
            </a:r>
          </a:p>
        </p:txBody>
      </p:sp>
      <p:sp>
        <p:nvSpPr>
          <p:cNvPr id="13" name="Pfeil: Fünfeck 12">
            <a:extLst>
              <a:ext uri="{FF2B5EF4-FFF2-40B4-BE49-F238E27FC236}">
                <a16:creationId xmlns:a16="http://schemas.microsoft.com/office/drawing/2014/main" id="{35E24848-E20E-4FB6-8A90-E7878A362020}"/>
              </a:ext>
            </a:extLst>
          </p:cNvPr>
          <p:cNvSpPr/>
          <p:nvPr/>
        </p:nvSpPr>
        <p:spPr>
          <a:xfrm>
            <a:off x="695400" y="2970548"/>
            <a:ext cx="1541616" cy="1003227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de-DE" sz="1867" dirty="0">
                <a:solidFill>
                  <a:srgbClr val="FFFFFF"/>
                </a:solidFill>
                <a:latin typeface="Verdana"/>
              </a:rPr>
              <a:t>select</a:t>
            </a:r>
          </a:p>
          <a:p>
            <a:pPr algn="ctr" defTabSz="914377"/>
            <a:r>
              <a:rPr lang="en-US" sz="1867" dirty="0">
                <a:solidFill>
                  <a:srgbClr val="FFFFFF"/>
                </a:solidFill>
                <a:latin typeface="Verdana"/>
              </a:rPr>
              <a:t>products</a:t>
            </a:r>
          </a:p>
        </p:txBody>
      </p:sp>
      <p:sp>
        <p:nvSpPr>
          <p:cNvPr id="14" name="Pfeil: Chevron 13">
            <a:extLst>
              <a:ext uri="{FF2B5EF4-FFF2-40B4-BE49-F238E27FC236}">
                <a16:creationId xmlns:a16="http://schemas.microsoft.com/office/drawing/2014/main" id="{AB45C931-1F6F-488B-89BF-5C59A2829235}"/>
              </a:ext>
            </a:extLst>
          </p:cNvPr>
          <p:cNvSpPr/>
          <p:nvPr/>
        </p:nvSpPr>
        <p:spPr>
          <a:xfrm>
            <a:off x="1856066" y="2970548"/>
            <a:ext cx="1992643" cy="1003227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en-CA" sz="1867" dirty="0">
                <a:solidFill>
                  <a:srgbClr val="FFFFFF"/>
                </a:solidFill>
                <a:latin typeface="Verdana"/>
              </a:rPr>
              <a:t>deliver</a:t>
            </a:r>
            <a:r>
              <a:rPr lang="de-DE" sz="1867" dirty="0">
                <a:solidFill>
                  <a:srgbClr val="FFFFFF"/>
                </a:solidFill>
                <a:latin typeface="Verdana"/>
              </a:rPr>
              <a:t> data</a:t>
            </a:r>
          </a:p>
        </p:txBody>
      </p:sp>
      <p:sp>
        <p:nvSpPr>
          <p:cNvPr id="15" name="Pfeil: Fünfeck 14">
            <a:extLst>
              <a:ext uri="{FF2B5EF4-FFF2-40B4-BE49-F238E27FC236}">
                <a16:creationId xmlns:a16="http://schemas.microsoft.com/office/drawing/2014/main" id="{C7CCCED5-1394-41E7-AC80-31B9912D0183}"/>
              </a:ext>
            </a:extLst>
          </p:cNvPr>
          <p:cNvSpPr/>
          <p:nvPr/>
        </p:nvSpPr>
        <p:spPr>
          <a:xfrm>
            <a:off x="1012682" y="3242792"/>
            <a:ext cx="1541616" cy="1003227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de-DE" sz="1867" dirty="0">
                <a:solidFill>
                  <a:srgbClr val="FFFFFF"/>
                </a:solidFill>
                <a:latin typeface="Verdana"/>
              </a:rPr>
              <a:t>select</a:t>
            </a:r>
          </a:p>
          <a:p>
            <a:pPr algn="ctr" defTabSz="914377"/>
            <a:r>
              <a:rPr lang="de-DE" sz="1867" dirty="0">
                <a:solidFill>
                  <a:srgbClr val="FFFFFF"/>
                </a:solidFill>
                <a:latin typeface="Verdana"/>
              </a:rPr>
              <a:t>products</a:t>
            </a:r>
          </a:p>
        </p:txBody>
      </p:sp>
      <p:sp>
        <p:nvSpPr>
          <p:cNvPr id="16" name="Pfeil: Chevron 15">
            <a:extLst>
              <a:ext uri="{FF2B5EF4-FFF2-40B4-BE49-F238E27FC236}">
                <a16:creationId xmlns:a16="http://schemas.microsoft.com/office/drawing/2014/main" id="{3EDF54C5-58E7-47D5-B8B1-0A879C31820B}"/>
              </a:ext>
            </a:extLst>
          </p:cNvPr>
          <p:cNvSpPr/>
          <p:nvPr/>
        </p:nvSpPr>
        <p:spPr>
          <a:xfrm>
            <a:off x="2149988" y="3242792"/>
            <a:ext cx="1992643" cy="1003227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en-CA" sz="1867" dirty="0">
                <a:solidFill>
                  <a:srgbClr val="FFFFFF"/>
                </a:solidFill>
                <a:latin typeface="Verdana"/>
              </a:rPr>
              <a:t>deliver</a:t>
            </a:r>
            <a:r>
              <a:rPr lang="de-DE" sz="1867" dirty="0">
                <a:solidFill>
                  <a:srgbClr val="FFFFFF"/>
                </a:solidFill>
                <a:latin typeface="Verdana"/>
              </a:rPr>
              <a:t> data</a:t>
            </a:r>
          </a:p>
        </p:txBody>
      </p:sp>
      <p:sp>
        <p:nvSpPr>
          <p:cNvPr id="17" name="Pfeil: Fünfeck 16">
            <a:extLst>
              <a:ext uri="{FF2B5EF4-FFF2-40B4-BE49-F238E27FC236}">
                <a16:creationId xmlns:a16="http://schemas.microsoft.com/office/drawing/2014/main" id="{7F7F6DF1-AB08-4407-B766-07109B619E56}"/>
              </a:ext>
            </a:extLst>
          </p:cNvPr>
          <p:cNvSpPr/>
          <p:nvPr/>
        </p:nvSpPr>
        <p:spPr>
          <a:xfrm>
            <a:off x="1271566" y="3476451"/>
            <a:ext cx="1541616" cy="1003227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de-DE" sz="1867" dirty="0">
                <a:solidFill>
                  <a:srgbClr val="FFFFFF"/>
                </a:solidFill>
                <a:latin typeface="Verdana"/>
              </a:rPr>
              <a:t>select</a:t>
            </a:r>
          </a:p>
          <a:p>
            <a:pPr algn="ctr" defTabSz="914377"/>
            <a:r>
              <a:rPr lang="de-DE" sz="1867" dirty="0">
                <a:solidFill>
                  <a:srgbClr val="FFFFFF"/>
                </a:solidFill>
                <a:latin typeface="Verdana"/>
              </a:rPr>
              <a:t>products</a:t>
            </a:r>
          </a:p>
        </p:txBody>
      </p:sp>
      <p:sp>
        <p:nvSpPr>
          <p:cNvPr id="18" name="Pfeil: Chevron 17">
            <a:extLst>
              <a:ext uri="{FF2B5EF4-FFF2-40B4-BE49-F238E27FC236}">
                <a16:creationId xmlns:a16="http://schemas.microsoft.com/office/drawing/2014/main" id="{DD2B924B-51DE-44A3-B8B0-EAA0A4BA30FE}"/>
              </a:ext>
            </a:extLst>
          </p:cNvPr>
          <p:cNvSpPr/>
          <p:nvPr/>
        </p:nvSpPr>
        <p:spPr>
          <a:xfrm>
            <a:off x="2408872" y="3476451"/>
            <a:ext cx="1992643" cy="1003227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en-CA" sz="1867" dirty="0">
                <a:solidFill>
                  <a:srgbClr val="FFFFFF"/>
                </a:solidFill>
                <a:latin typeface="Verdana"/>
              </a:rPr>
              <a:t>deliver</a:t>
            </a:r>
            <a:r>
              <a:rPr lang="de-DE" sz="1867" dirty="0">
                <a:solidFill>
                  <a:srgbClr val="FFFFFF"/>
                </a:solidFill>
                <a:latin typeface="Verdana"/>
              </a:rPr>
              <a:t> data</a:t>
            </a:r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98E51A34-0A8F-4E4C-8A70-1165CF90B9CA}"/>
              </a:ext>
            </a:extLst>
          </p:cNvPr>
          <p:cNvSpPr/>
          <p:nvPr/>
        </p:nvSpPr>
        <p:spPr>
          <a:xfrm>
            <a:off x="1483734" y="3658661"/>
            <a:ext cx="1541616" cy="1003227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de-DE" sz="1867" dirty="0">
                <a:solidFill>
                  <a:srgbClr val="FFFFFF"/>
                </a:solidFill>
                <a:latin typeface="Verdana"/>
              </a:rPr>
              <a:t>select</a:t>
            </a:r>
          </a:p>
          <a:p>
            <a:pPr algn="ctr" defTabSz="914377"/>
            <a:r>
              <a:rPr lang="de-DE" sz="1867" dirty="0">
                <a:solidFill>
                  <a:srgbClr val="FFFFFF"/>
                </a:solidFill>
                <a:latin typeface="Verdana"/>
              </a:rPr>
              <a:t>products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77EB09EE-3D7E-4EB1-948E-16EC1B4D83F5}"/>
              </a:ext>
            </a:extLst>
          </p:cNvPr>
          <p:cNvSpPr/>
          <p:nvPr/>
        </p:nvSpPr>
        <p:spPr>
          <a:xfrm>
            <a:off x="2644400" y="3658661"/>
            <a:ext cx="1992643" cy="1003227"/>
          </a:xfrm>
          <a:prstGeom prst="chevron">
            <a:avLst/>
          </a:prstGeom>
          <a:solidFill>
            <a:schemeClr val="accent3">
              <a:lumMod val="60000"/>
              <a:lumOff val="40000"/>
            </a:schemeClr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en-CA" sz="1867" dirty="0">
                <a:solidFill>
                  <a:srgbClr val="FFFFFF"/>
                </a:solidFill>
                <a:latin typeface="Verdana"/>
              </a:rPr>
              <a:t>deliver</a:t>
            </a:r>
            <a:r>
              <a:rPr lang="de-DE" sz="1867" dirty="0">
                <a:solidFill>
                  <a:srgbClr val="FFFFFF"/>
                </a:solidFill>
                <a:latin typeface="Verdana"/>
              </a:rPr>
              <a:t> data</a:t>
            </a: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B94F1907-5292-443A-AEF9-665728951315}"/>
              </a:ext>
            </a:extLst>
          </p:cNvPr>
          <p:cNvSpPr/>
          <p:nvPr/>
        </p:nvSpPr>
        <p:spPr>
          <a:xfrm>
            <a:off x="4512735" y="3374191"/>
            <a:ext cx="2068835" cy="1003227"/>
          </a:xfrm>
          <a:prstGeom prst="chevron">
            <a:avLst/>
          </a:prstGeom>
          <a:solidFill>
            <a:schemeClr val="tx2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CA" sz="1867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A061D97A-AB57-4606-8F47-EDD558307C71}"/>
              </a:ext>
            </a:extLst>
          </p:cNvPr>
          <p:cNvSpPr/>
          <p:nvPr/>
        </p:nvSpPr>
        <p:spPr>
          <a:xfrm>
            <a:off x="6222598" y="3374191"/>
            <a:ext cx="2077719" cy="1003227"/>
          </a:xfrm>
          <a:prstGeom prst="chevron">
            <a:avLst/>
          </a:prstGeom>
          <a:solidFill>
            <a:schemeClr val="tx2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de-DE" sz="1867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F0CB2B37-72B7-420E-918D-E3CCD71E3ED8}"/>
              </a:ext>
            </a:extLst>
          </p:cNvPr>
          <p:cNvSpPr/>
          <p:nvPr/>
        </p:nvSpPr>
        <p:spPr>
          <a:xfrm>
            <a:off x="10095228" y="2708920"/>
            <a:ext cx="1448696" cy="2349537"/>
          </a:xfrm>
          <a:prstGeom prst="rect">
            <a:avLst/>
          </a:prstGeom>
          <a:solidFill>
            <a:srgbClr val="F28E00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de-DE" sz="2400" dirty="0">
                <a:solidFill>
                  <a:srgbClr val="FFFFFF"/>
                </a:solidFill>
                <a:latin typeface="Verdana"/>
              </a:rPr>
              <a:t>GS1 Global </a:t>
            </a:r>
          </a:p>
          <a:p>
            <a:pPr algn="ctr" defTabSz="914377"/>
            <a:r>
              <a:rPr lang="de-DE" sz="2400" dirty="0">
                <a:solidFill>
                  <a:srgbClr val="FFFFFF"/>
                </a:solidFill>
                <a:latin typeface="Verdana"/>
              </a:rPr>
              <a:t>Registry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C638B4A-3D66-454E-9FAE-3BF6DAB2D2BE}"/>
              </a:ext>
            </a:extLst>
          </p:cNvPr>
          <p:cNvSpPr txBox="1"/>
          <p:nvPr/>
        </p:nvSpPr>
        <p:spPr>
          <a:xfrm>
            <a:off x="4899717" y="4479678"/>
            <a:ext cx="4454233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/>
            <a:r>
              <a:rPr lang="de-DE" sz="1867" dirty="0">
                <a:solidFill>
                  <a:srgbClr val="000000"/>
                </a:solidFill>
                <a:latin typeface="Verdana"/>
              </a:rPr>
              <a:t>per METRO </a:t>
            </a:r>
            <a:r>
              <a:rPr lang="en-US" sz="1867" dirty="0">
                <a:solidFill>
                  <a:srgbClr val="000000"/>
                </a:solidFill>
                <a:latin typeface="Verdana"/>
              </a:rPr>
              <a:t>brand</a:t>
            </a:r>
            <a:r>
              <a:rPr lang="de-DE" sz="1867" dirty="0">
                <a:solidFill>
                  <a:srgbClr val="000000"/>
                </a:solidFill>
                <a:latin typeface="Verdana"/>
              </a:rPr>
              <a:t> </a:t>
            </a:r>
            <a:r>
              <a:rPr lang="de-DE" sz="1867" dirty="0" err="1">
                <a:solidFill>
                  <a:srgbClr val="000000"/>
                </a:solidFill>
                <a:latin typeface="Verdana"/>
              </a:rPr>
              <a:t>owner</a:t>
            </a:r>
            <a:r>
              <a:rPr lang="de-DE" sz="1867" dirty="0">
                <a:solidFill>
                  <a:srgbClr val="000000"/>
                </a:solidFill>
                <a:latin typeface="Verdana"/>
              </a:rPr>
              <a:t> GCP, GTIN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F7B3744-9B8C-404C-B396-A4A64205429A}"/>
              </a:ext>
            </a:extLst>
          </p:cNvPr>
          <p:cNvSpPr txBox="1"/>
          <p:nvPr/>
        </p:nvSpPr>
        <p:spPr>
          <a:xfrm>
            <a:off x="9790322" y="2204396"/>
            <a:ext cx="19858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/>
            <a:r>
              <a:rPr lang="de-DE" dirty="0" err="1">
                <a:solidFill>
                  <a:srgbClr val="000000"/>
                </a:solidFill>
                <a:latin typeface="Verdana"/>
              </a:rPr>
              <a:t>Verified</a:t>
            </a:r>
            <a:r>
              <a:rPr lang="de-DE" dirty="0">
                <a:solidFill>
                  <a:srgbClr val="000000"/>
                </a:solidFill>
                <a:latin typeface="Verdana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Verdana"/>
              </a:rPr>
              <a:t>by</a:t>
            </a:r>
            <a:r>
              <a:rPr lang="de-DE" dirty="0">
                <a:solidFill>
                  <a:srgbClr val="000000"/>
                </a:solidFill>
                <a:latin typeface="Verdana"/>
              </a:rPr>
              <a:t> GS1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380413E5-54E1-4806-AB1E-A3C707692565}"/>
              </a:ext>
            </a:extLst>
          </p:cNvPr>
          <p:cNvSpPr txBox="1"/>
          <p:nvPr/>
        </p:nvSpPr>
        <p:spPr>
          <a:xfrm>
            <a:off x="4910035" y="3522953"/>
            <a:ext cx="16535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CA" dirty="0">
                <a:solidFill>
                  <a:srgbClr val="FFFFFF"/>
                </a:solidFill>
                <a:latin typeface="Verdana"/>
              </a:rPr>
              <a:t>Consolidate &amp; add GPC</a:t>
            </a:r>
          </a:p>
          <a:p>
            <a:pPr defTabSz="914377"/>
            <a:endParaRPr lang="de-DE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015B325B-446B-4D56-9497-7B66CF112464}"/>
              </a:ext>
            </a:extLst>
          </p:cNvPr>
          <p:cNvSpPr txBox="1"/>
          <p:nvPr/>
        </p:nvSpPr>
        <p:spPr>
          <a:xfrm>
            <a:off x="6740561" y="3536457"/>
            <a:ext cx="16560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de-DE" dirty="0">
                <a:solidFill>
                  <a:srgbClr val="FFFFFF"/>
                </a:solidFill>
                <a:latin typeface="Verdana"/>
              </a:rPr>
              <a:t>Check &amp; </a:t>
            </a:r>
            <a:r>
              <a:rPr lang="en-AU" dirty="0">
                <a:solidFill>
                  <a:srgbClr val="FFFFFF"/>
                </a:solidFill>
                <a:latin typeface="Verdana"/>
              </a:rPr>
              <a:t>approve</a:t>
            </a:r>
            <a:r>
              <a:rPr lang="de-DE" dirty="0">
                <a:solidFill>
                  <a:srgbClr val="FFFFFF"/>
                </a:solidFill>
                <a:latin typeface="Verdana"/>
              </a:rPr>
              <a:t>*</a:t>
            </a:r>
          </a:p>
          <a:p>
            <a:pPr defTabSz="914377"/>
            <a:endParaRPr lang="de-DE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CBB81574-1230-414D-AF9B-919C00F589DF}"/>
              </a:ext>
            </a:extLst>
          </p:cNvPr>
          <p:cNvSpPr/>
          <p:nvPr/>
        </p:nvSpPr>
        <p:spPr>
          <a:xfrm>
            <a:off x="7925213" y="3374191"/>
            <a:ext cx="2077719" cy="1003227"/>
          </a:xfrm>
          <a:prstGeom prst="chevron">
            <a:avLst/>
          </a:prstGeom>
          <a:solidFill>
            <a:schemeClr val="tx2"/>
          </a:solidFill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r>
              <a:rPr lang="en-IE" sz="1867" dirty="0">
                <a:solidFill>
                  <a:srgbClr val="FFFFFF"/>
                </a:solidFill>
                <a:latin typeface="Verdana"/>
              </a:rPr>
              <a:t>provid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9C384C3-7ACF-19FC-392B-9E2D0D638C75}"/>
              </a:ext>
            </a:extLst>
          </p:cNvPr>
          <p:cNvSpPr txBox="1"/>
          <p:nvPr/>
        </p:nvSpPr>
        <p:spPr>
          <a:xfrm>
            <a:off x="5547152" y="2251165"/>
            <a:ext cx="2838213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/>
            <a:r>
              <a:rPr lang="de-DE" sz="1867" dirty="0">
                <a:solidFill>
                  <a:srgbClr val="000000"/>
                </a:solidFill>
                <a:latin typeface="Verdana"/>
              </a:rPr>
              <a:t>per METRO </a:t>
            </a:r>
            <a:r>
              <a:rPr lang="de-DE" sz="1867" dirty="0" err="1">
                <a:solidFill>
                  <a:srgbClr val="000000"/>
                </a:solidFill>
                <a:latin typeface="Verdana"/>
              </a:rPr>
              <a:t>corporate</a:t>
            </a:r>
            <a:r>
              <a:rPr lang="de-DE" sz="1867" dirty="0">
                <a:solidFill>
                  <a:srgbClr val="000000"/>
                </a:solidFill>
                <a:latin typeface="Verdana"/>
              </a:rPr>
              <a:t> </a:t>
            </a:r>
            <a:br>
              <a:rPr lang="de-DE" sz="1867" dirty="0">
                <a:solidFill>
                  <a:srgbClr val="000000"/>
                </a:solidFill>
                <a:latin typeface="Verdana"/>
              </a:rPr>
            </a:br>
            <a:r>
              <a:rPr lang="de-DE" sz="1867" dirty="0" err="1">
                <a:solidFill>
                  <a:srgbClr val="000000"/>
                </a:solidFill>
                <a:latin typeface="Verdana"/>
              </a:rPr>
              <a:t>function</a:t>
            </a:r>
            <a:endParaRPr lang="de-DE" sz="1867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DC533C4-0277-1417-8112-7920A852B1AC}"/>
              </a:ext>
            </a:extLst>
          </p:cNvPr>
          <p:cNvSpPr txBox="1"/>
          <p:nvPr/>
        </p:nvSpPr>
        <p:spPr>
          <a:xfrm>
            <a:off x="978158" y="4725144"/>
            <a:ext cx="3101618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/>
            <a:r>
              <a:rPr lang="de-DE" sz="1867" dirty="0">
                <a:solidFill>
                  <a:srgbClr val="000000"/>
                </a:solidFill>
                <a:latin typeface="Verdana"/>
              </a:rPr>
              <a:t>Per GTIN, Traget Market</a:t>
            </a: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25FB1849-B7CF-6E40-7971-8693E1386A46}"/>
              </a:ext>
            </a:extLst>
          </p:cNvPr>
          <p:cNvSpPr/>
          <p:nvPr/>
        </p:nvSpPr>
        <p:spPr>
          <a:xfrm>
            <a:off x="411187" y="411200"/>
            <a:ext cx="8145959" cy="666750"/>
          </a:xfrm>
          <a:custGeom>
            <a:avLst/>
            <a:gdLst/>
            <a:ahLst/>
            <a:cxnLst/>
            <a:rect l="l" t="t" r="r" b="b"/>
            <a:pathLst>
              <a:path w="4177029" h="666750">
                <a:moveTo>
                  <a:pt x="0" y="666203"/>
                </a:moveTo>
                <a:lnTo>
                  <a:pt x="4176572" y="666203"/>
                </a:lnTo>
                <a:lnTo>
                  <a:pt x="4176572" y="0"/>
                </a:lnTo>
                <a:lnTo>
                  <a:pt x="0" y="0"/>
                </a:lnTo>
                <a:lnTo>
                  <a:pt x="0" y="666203"/>
                </a:lnTo>
                <a:close/>
              </a:path>
            </a:pathLst>
          </a:custGeom>
          <a:solidFill>
            <a:srgbClr val="003B7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6C4FA75C-CFE7-F6FF-1229-7DDE14AB3933}"/>
              </a:ext>
            </a:extLst>
          </p:cNvPr>
          <p:cNvSpPr txBox="1">
            <a:spLocks/>
          </p:cNvSpPr>
          <p:nvPr/>
        </p:nvSpPr>
        <p:spPr>
          <a:xfrm>
            <a:off x="513015" y="399621"/>
            <a:ext cx="8315317" cy="6296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sz="3550" b="1" i="0">
                <a:solidFill>
                  <a:srgbClr val="F7AD00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12700">
              <a:spcBef>
                <a:spcPts val="110"/>
              </a:spcBef>
            </a:pPr>
            <a:r>
              <a:rPr lang="de-DE" sz="4000" dirty="0"/>
              <a:t>METRO Privat Lable Data IN</a:t>
            </a:r>
            <a:endParaRPr lang="en-US" sz="4000" kern="0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248C58DD-5A50-3356-60EB-B2A446D50AB9}"/>
              </a:ext>
            </a:extLst>
          </p:cNvPr>
          <p:cNvSpPr txBox="1"/>
          <p:nvPr/>
        </p:nvSpPr>
        <p:spPr>
          <a:xfrm>
            <a:off x="411187" y="1092583"/>
            <a:ext cx="53391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dirty="0">
                <a:solidFill>
                  <a:schemeClr val="tx2"/>
                </a:solidFill>
              </a:rPr>
              <a:t>Product </a:t>
            </a:r>
            <a:r>
              <a:rPr lang="en-US" sz="2400" dirty="0">
                <a:solidFill>
                  <a:schemeClr val="tx2"/>
                </a:solidFill>
              </a:rPr>
              <a:t>master</a:t>
            </a:r>
            <a:r>
              <a:rPr lang="de-DE" sz="2400" dirty="0">
                <a:solidFill>
                  <a:schemeClr val="tx2"/>
                </a:solidFill>
              </a:rPr>
              <a:t> </a:t>
            </a:r>
            <a:r>
              <a:rPr lang="en-US" sz="2400" dirty="0">
                <a:solidFill>
                  <a:schemeClr val="tx2"/>
                </a:solidFill>
              </a:rPr>
              <a:t>data</a:t>
            </a:r>
            <a:r>
              <a:rPr lang="de-DE" sz="2400" dirty="0">
                <a:solidFill>
                  <a:schemeClr val="tx2"/>
                </a:solidFill>
              </a:rPr>
              <a:t> </a:t>
            </a:r>
            <a:r>
              <a:rPr lang="en-US" sz="2400" dirty="0">
                <a:solidFill>
                  <a:schemeClr val="tx2"/>
                </a:solidFill>
              </a:rPr>
              <a:t>provisioning</a:t>
            </a:r>
            <a:r>
              <a:rPr lang="de-DE" sz="2400" dirty="0">
                <a:solidFill>
                  <a:schemeClr val="tx2"/>
                </a:solidFill>
              </a:rPr>
              <a:t> </a:t>
            </a:r>
            <a:r>
              <a:rPr lang="en-US" sz="2400" dirty="0">
                <a:solidFill>
                  <a:schemeClr val="tx2"/>
                </a:solidFill>
              </a:rPr>
              <a:t>process</a:t>
            </a:r>
          </a:p>
        </p:txBody>
      </p:sp>
      <p:grpSp>
        <p:nvGrpSpPr>
          <p:cNvPr id="2" name="Grafik 15">
            <a:extLst>
              <a:ext uri="{FF2B5EF4-FFF2-40B4-BE49-F238E27FC236}">
                <a16:creationId xmlns:a16="http://schemas.microsoft.com/office/drawing/2014/main" id="{645736B4-D347-C479-C179-FCFBF2F3436A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1" name="Grafik 15">
              <a:extLst>
                <a:ext uri="{FF2B5EF4-FFF2-40B4-BE49-F238E27FC236}">
                  <a16:creationId xmlns:a16="http://schemas.microsoft.com/office/drawing/2014/main" id="{2D15F5C9-D1DA-999F-A6E0-C009B15DE2D5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7" name="Freihandform 37">
                <a:extLst>
                  <a:ext uri="{FF2B5EF4-FFF2-40B4-BE49-F238E27FC236}">
                    <a16:creationId xmlns:a16="http://schemas.microsoft.com/office/drawing/2014/main" id="{8388BF85-764C-61BF-6342-259B0AB8616D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8" name="Freihandform 38">
                <a:extLst>
                  <a:ext uri="{FF2B5EF4-FFF2-40B4-BE49-F238E27FC236}">
                    <a16:creationId xmlns:a16="http://schemas.microsoft.com/office/drawing/2014/main" id="{1EF27EBE-40CA-81B5-89DF-869288EFB2DA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9" name="Freihandform 39">
                <a:extLst>
                  <a:ext uri="{FF2B5EF4-FFF2-40B4-BE49-F238E27FC236}">
                    <a16:creationId xmlns:a16="http://schemas.microsoft.com/office/drawing/2014/main" id="{03E329FD-B314-637D-D379-8AE46D742485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0" name="Freihandform 40">
                <a:extLst>
                  <a:ext uri="{FF2B5EF4-FFF2-40B4-BE49-F238E27FC236}">
                    <a16:creationId xmlns:a16="http://schemas.microsoft.com/office/drawing/2014/main" id="{2EF1C9AF-87AF-BC6F-BD73-29F07B49354C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 41">
                <a:extLst>
                  <a:ext uri="{FF2B5EF4-FFF2-40B4-BE49-F238E27FC236}">
                    <a16:creationId xmlns:a16="http://schemas.microsoft.com/office/drawing/2014/main" id="{EB8F984C-8281-B981-F6B7-3BEF5F8B6E94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6" name="Grafik 15">
              <a:extLst>
                <a:ext uri="{FF2B5EF4-FFF2-40B4-BE49-F238E27FC236}">
                  <a16:creationId xmlns:a16="http://schemas.microsoft.com/office/drawing/2014/main" id="{7A8AF590-FF5F-7B86-F327-5D3B9B3FD955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35" name="Freihandform 35">
                <a:extLst>
                  <a:ext uri="{FF2B5EF4-FFF2-40B4-BE49-F238E27FC236}">
                    <a16:creationId xmlns:a16="http://schemas.microsoft.com/office/drawing/2014/main" id="{AFCCF137-4135-80EB-BEC8-67D54F2156DC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6" name="Freihandform 36">
                <a:extLst>
                  <a:ext uri="{FF2B5EF4-FFF2-40B4-BE49-F238E27FC236}">
                    <a16:creationId xmlns:a16="http://schemas.microsoft.com/office/drawing/2014/main" id="{04E54E55-4933-0FC9-0BBB-1DCF4FF43795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7" name="Grafik 15">
              <a:extLst>
                <a:ext uri="{FF2B5EF4-FFF2-40B4-BE49-F238E27FC236}">
                  <a16:creationId xmlns:a16="http://schemas.microsoft.com/office/drawing/2014/main" id="{92EDE2E2-1EC5-62D3-FE52-A6D84FFEB686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29" name="Freihandform 31">
                <a:extLst>
                  <a:ext uri="{FF2B5EF4-FFF2-40B4-BE49-F238E27FC236}">
                    <a16:creationId xmlns:a16="http://schemas.microsoft.com/office/drawing/2014/main" id="{3122B8CB-08E3-102E-40E9-611247297AF3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0" name="Freihandform 32">
                <a:extLst>
                  <a:ext uri="{FF2B5EF4-FFF2-40B4-BE49-F238E27FC236}">
                    <a16:creationId xmlns:a16="http://schemas.microsoft.com/office/drawing/2014/main" id="{487874EA-A16E-218F-5F38-E9B865C33443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1" name="Freihandform 33">
                <a:extLst>
                  <a:ext uri="{FF2B5EF4-FFF2-40B4-BE49-F238E27FC236}">
                    <a16:creationId xmlns:a16="http://schemas.microsoft.com/office/drawing/2014/main" id="{F2704061-911D-F048-60ED-416796EF14EB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2" name="Freihandform 34">
                <a:extLst>
                  <a:ext uri="{FF2B5EF4-FFF2-40B4-BE49-F238E27FC236}">
                    <a16:creationId xmlns:a16="http://schemas.microsoft.com/office/drawing/2014/main" id="{951D6FCA-C634-6847-FB1B-5F52ECB39288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83191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5" name="Google Shape;135;p7"/>
          <p:cNvGrpSpPr/>
          <p:nvPr/>
        </p:nvGrpSpPr>
        <p:grpSpPr>
          <a:xfrm>
            <a:off x="5014012" y="2426513"/>
            <a:ext cx="4920774" cy="2795518"/>
            <a:chOff x="0" y="764704"/>
            <a:chExt cx="12134137" cy="5976665"/>
          </a:xfrm>
        </p:grpSpPr>
        <p:pic>
          <p:nvPicPr>
            <p:cNvPr id="136" name="Google Shape;136;p7" descr="Graphical user interface, application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 t="11103" r="19640" b="2117"/>
            <a:stretch/>
          </p:blipFill>
          <p:spPr>
            <a:xfrm>
              <a:off x="0" y="764704"/>
              <a:ext cx="9552384" cy="597666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7" name="Google Shape;137;p7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9587663" y="808047"/>
              <a:ext cx="2546474" cy="593332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8" name="Google Shape;138;p7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3420" y="808047"/>
              <a:ext cx="2712188" cy="98457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9" name="Google Shape;139;p7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47328" y="795658"/>
              <a:ext cx="2712188" cy="98457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" name="Google Shape;140;p7"/>
          <p:cNvSpPr txBox="1"/>
          <p:nvPr/>
        </p:nvSpPr>
        <p:spPr>
          <a:xfrm>
            <a:off x="583312" y="1414537"/>
            <a:ext cx="11025375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Value: </a:t>
            </a:r>
            <a:r>
              <a:rPr lang="en-US" sz="32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Data quality and consistency improvement</a:t>
            </a:r>
            <a:endParaRPr dirty="0"/>
          </a:p>
        </p:txBody>
      </p:sp>
      <p:sp>
        <p:nvSpPr>
          <p:cNvPr id="141" name="Google Shape;141;p7"/>
          <p:cNvSpPr txBox="1"/>
          <p:nvPr/>
        </p:nvSpPr>
        <p:spPr>
          <a:xfrm>
            <a:off x="479376" y="5662989"/>
            <a:ext cx="11377264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hallenges: </a:t>
            </a: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Retailer Use Case only once a market gets above threshold</a:t>
            </a:r>
            <a:endParaRPr dirty="0"/>
          </a:p>
        </p:txBody>
      </p:sp>
      <p:sp>
        <p:nvSpPr>
          <p:cNvPr id="142" name="Google Shape;142;p7"/>
          <p:cNvSpPr txBox="1"/>
          <p:nvPr/>
        </p:nvSpPr>
        <p:spPr>
          <a:xfrm>
            <a:off x="665115" y="2228993"/>
            <a:ext cx="3895231" cy="26776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Char char="•"/>
            </a:pP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mprove Load</a:t>
            </a:r>
            <a:endParaRPr dirty="0"/>
          </a:p>
          <a:p>
            <a:pPr marL="457200" marR="0" lvl="0" indent="-2794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457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Char char="•"/>
            </a:pP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Improve Data Quality of the Load</a:t>
            </a:r>
            <a:endParaRPr dirty="0"/>
          </a:p>
          <a:p>
            <a:pPr marL="457200" marR="0" lvl="0" indent="-2794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0" marR="0" lvl="0" indent="-4572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Char char="•"/>
            </a:pP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Queries</a:t>
            </a:r>
            <a:endParaRPr sz="2800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object 5">
            <a:extLst>
              <a:ext uri="{FF2B5EF4-FFF2-40B4-BE49-F238E27FC236}">
                <a16:creationId xmlns:a16="http://schemas.microsoft.com/office/drawing/2014/main" id="{466BE0CD-FE19-B11C-EC8C-9ACDE4268288}"/>
              </a:ext>
            </a:extLst>
          </p:cNvPr>
          <p:cNvSpPr/>
          <p:nvPr/>
        </p:nvSpPr>
        <p:spPr>
          <a:xfrm>
            <a:off x="411188" y="411200"/>
            <a:ext cx="6371750" cy="666750"/>
          </a:xfrm>
          <a:custGeom>
            <a:avLst/>
            <a:gdLst/>
            <a:ahLst/>
            <a:cxnLst/>
            <a:rect l="l" t="t" r="r" b="b"/>
            <a:pathLst>
              <a:path w="4177029" h="666750">
                <a:moveTo>
                  <a:pt x="0" y="666203"/>
                </a:moveTo>
                <a:lnTo>
                  <a:pt x="4176572" y="666203"/>
                </a:lnTo>
                <a:lnTo>
                  <a:pt x="4176572" y="0"/>
                </a:lnTo>
                <a:lnTo>
                  <a:pt x="0" y="0"/>
                </a:lnTo>
                <a:lnTo>
                  <a:pt x="0" y="666203"/>
                </a:lnTo>
                <a:close/>
              </a:path>
            </a:pathLst>
          </a:custGeom>
          <a:solidFill>
            <a:srgbClr val="003B7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950B73C4-653B-47F7-E8D6-6781E8B3DE0D}"/>
              </a:ext>
            </a:extLst>
          </p:cNvPr>
          <p:cNvSpPr txBox="1">
            <a:spLocks/>
          </p:cNvSpPr>
          <p:nvPr/>
        </p:nvSpPr>
        <p:spPr>
          <a:xfrm>
            <a:off x="513015" y="399621"/>
            <a:ext cx="8315317" cy="6296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lvl1pPr>
              <a:defRPr sz="3550" b="1" i="0">
                <a:solidFill>
                  <a:srgbClr val="F7AD00"/>
                </a:solidFill>
                <a:latin typeface="Verdana"/>
                <a:ea typeface="+mj-ea"/>
                <a:cs typeface="Verdana"/>
              </a:defRPr>
            </a:lvl1pPr>
          </a:lstStyle>
          <a:p>
            <a:pPr marL="12700">
              <a:spcBef>
                <a:spcPts val="110"/>
              </a:spcBef>
            </a:pPr>
            <a:r>
              <a:rPr lang="de-DE" sz="4000" dirty="0"/>
              <a:t>GS1 </a:t>
            </a:r>
            <a:r>
              <a:rPr lang="en-US" sz="4000" dirty="0"/>
              <a:t>VbG</a:t>
            </a:r>
            <a:r>
              <a:rPr lang="de-DE" sz="4000" dirty="0"/>
              <a:t> DQ Scorcard</a:t>
            </a:r>
            <a:endParaRPr lang="en-US" sz="4000" kern="0" dirty="0"/>
          </a:p>
        </p:txBody>
      </p:sp>
      <p:grpSp>
        <p:nvGrpSpPr>
          <p:cNvPr id="4" name="Grafik 15">
            <a:extLst>
              <a:ext uri="{FF2B5EF4-FFF2-40B4-BE49-F238E27FC236}">
                <a16:creationId xmlns:a16="http://schemas.microsoft.com/office/drawing/2014/main" id="{575E917A-6D48-212D-BEE3-935CBFAD4480}"/>
              </a:ext>
            </a:extLst>
          </p:cNvPr>
          <p:cNvGrpSpPr/>
          <p:nvPr/>
        </p:nvGrpSpPr>
        <p:grpSpPr>
          <a:xfrm>
            <a:off x="10072323" y="6433016"/>
            <a:ext cx="1734581" cy="289940"/>
            <a:chOff x="10072323" y="6421064"/>
            <a:chExt cx="1734581" cy="289940"/>
          </a:xfrm>
        </p:grpSpPr>
        <p:grpSp>
          <p:nvGrpSpPr>
            <p:cNvPr id="5" name="Grafik 15">
              <a:extLst>
                <a:ext uri="{FF2B5EF4-FFF2-40B4-BE49-F238E27FC236}">
                  <a16:creationId xmlns:a16="http://schemas.microsoft.com/office/drawing/2014/main" id="{6E59FD77-2FFC-0004-0E48-BA86FDE594A1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4" name="Freihandform 37">
                <a:extLst>
                  <a:ext uri="{FF2B5EF4-FFF2-40B4-BE49-F238E27FC236}">
                    <a16:creationId xmlns:a16="http://schemas.microsoft.com/office/drawing/2014/main" id="{317B63D7-BEF9-205C-D479-84FC7CD032C4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5" name="Freihandform 38">
                <a:extLst>
                  <a:ext uri="{FF2B5EF4-FFF2-40B4-BE49-F238E27FC236}">
                    <a16:creationId xmlns:a16="http://schemas.microsoft.com/office/drawing/2014/main" id="{88B64B39-39C5-059A-34D2-D217F8175EC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 39">
                <a:extLst>
                  <a:ext uri="{FF2B5EF4-FFF2-40B4-BE49-F238E27FC236}">
                    <a16:creationId xmlns:a16="http://schemas.microsoft.com/office/drawing/2014/main" id="{684B8A4F-E772-722C-85D1-373488BE7183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7" name="Freihandform 40">
                <a:extLst>
                  <a:ext uri="{FF2B5EF4-FFF2-40B4-BE49-F238E27FC236}">
                    <a16:creationId xmlns:a16="http://schemas.microsoft.com/office/drawing/2014/main" id="{9402430C-7FBC-9D36-BF92-AB1F64CD0015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" name="Freihandform 41">
                <a:extLst>
                  <a:ext uri="{FF2B5EF4-FFF2-40B4-BE49-F238E27FC236}">
                    <a16:creationId xmlns:a16="http://schemas.microsoft.com/office/drawing/2014/main" id="{2893E899-5411-8734-F141-EAE824EEFD73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" name="Grafik 15">
              <a:extLst>
                <a:ext uri="{FF2B5EF4-FFF2-40B4-BE49-F238E27FC236}">
                  <a16:creationId xmlns:a16="http://schemas.microsoft.com/office/drawing/2014/main" id="{6DB01E63-E933-44CC-9698-2CC40759194B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2" name="Freihandform 35">
                <a:extLst>
                  <a:ext uri="{FF2B5EF4-FFF2-40B4-BE49-F238E27FC236}">
                    <a16:creationId xmlns:a16="http://schemas.microsoft.com/office/drawing/2014/main" id="{8AFBCC4F-31F4-4572-2690-7F09453057AC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" name="Freihandform 36">
                <a:extLst>
                  <a:ext uri="{FF2B5EF4-FFF2-40B4-BE49-F238E27FC236}">
                    <a16:creationId xmlns:a16="http://schemas.microsoft.com/office/drawing/2014/main" id="{FD9904DB-0CF7-C7B0-0CD4-4DF8BA0FCFDE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" name="Grafik 15">
              <a:extLst>
                <a:ext uri="{FF2B5EF4-FFF2-40B4-BE49-F238E27FC236}">
                  <a16:creationId xmlns:a16="http://schemas.microsoft.com/office/drawing/2014/main" id="{CFF8B234-CEA3-DC65-ABE6-6EC4CEF2767F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8" name="Freihandform 31">
                <a:extLst>
                  <a:ext uri="{FF2B5EF4-FFF2-40B4-BE49-F238E27FC236}">
                    <a16:creationId xmlns:a16="http://schemas.microsoft.com/office/drawing/2014/main" id="{13B4E983-74B8-3F14-FA8A-968292EA14E0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" name="Freihandform 32">
                <a:extLst>
                  <a:ext uri="{FF2B5EF4-FFF2-40B4-BE49-F238E27FC236}">
                    <a16:creationId xmlns:a16="http://schemas.microsoft.com/office/drawing/2014/main" id="{7D6ACAC0-8C4D-0F9F-8B7A-C536192CA23C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" name="Freihandform 33">
                <a:extLst>
                  <a:ext uri="{FF2B5EF4-FFF2-40B4-BE49-F238E27FC236}">
                    <a16:creationId xmlns:a16="http://schemas.microsoft.com/office/drawing/2014/main" id="{CEA83DE3-7B9D-3F20-3C72-49A9FA405700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" name="Freihandform 34">
                <a:extLst>
                  <a:ext uri="{FF2B5EF4-FFF2-40B4-BE49-F238E27FC236}">
                    <a16:creationId xmlns:a16="http://schemas.microsoft.com/office/drawing/2014/main" id="{AC2CA26A-E621-5331-B91C-22CEA78315DA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6">
            <a:extLst>
              <a:ext uri="{FF2B5EF4-FFF2-40B4-BE49-F238E27FC236}">
                <a16:creationId xmlns:a16="http://schemas.microsoft.com/office/drawing/2014/main" id="{A1CDD7B9-E63D-3685-42BD-6851B64AD80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3016" y="399621"/>
            <a:ext cx="5409666" cy="6296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de-DE" sz="4000" spc="10" dirty="0"/>
              <a:t>Global Data Model</a:t>
            </a:r>
            <a:endParaRPr lang="en-US" sz="40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C8B1B30-495C-9263-2A07-B588C0F1ED75}"/>
              </a:ext>
            </a:extLst>
          </p:cNvPr>
          <p:cNvSpPr txBox="1">
            <a:spLocks/>
          </p:cNvSpPr>
          <p:nvPr/>
        </p:nvSpPr>
        <p:spPr>
          <a:xfrm>
            <a:off x="860403" y="1395179"/>
            <a:ext cx="10933756" cy="3962400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de-DE" sz="2400" kern="0" dirty="0">
                <a:solidFill>
                  <a:schemeClr val="tx2"/>
                </a:solidFill>
                <a:latin typeface="+mj-lt"/>
              </a:rPr>
              <a:t>The GS1 Global Data Model Standard is the set of </a:t>
            </a:r>
            <a:r>
              <a:rPr lang="en-US" sz="2400" b="1" kern="0" dirty="0">
                <a:solidFill>
                  <a:schemeClr val="tx2"/>
                </a:solidFill>
                <a:latin typeface="+mj-lt"/>
              </a:rPr>
              <a:t>foundational</a:t>
            </a:r>
            <a:r>
              <a:rPr lang="de-DE" sz="2400" b="1" kern="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2400" b="1" kern="0" dirty="0">
                <a:solidFill>
                  <a:schemeClr val="tx2"/>
                </a:solidFill>
                <a:latin typeface="+mj-lt"/>
              </a:rPr>
              <a:t>data</a:t>
            </a:r>
            <a:r>
              <a:rPr lang="de-DE" sz="2400" b="1" kern="0" dirty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2400" b="1" kern="0" dirty="0">
                <a:solidFill>
                  <a:schemeClr val="tx2"/>
                </a:solidFill>
                <a:latin typeface="+mj-lt"/>
              </a:rPr>
              <a:t>attributes</a:t>
            </a:r>
            <a:r>
              <a:rPr lang="de-DE" sz="2400" b="1" kern="0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sz="2400" kern="0" dirty="0">
                <a:solidFill>
                  <a:schemeClr val="tx2"/>
                </a:solidFill>
                <a:latin typeface="+mj-lt"/>
              </a:rPr>
              <a:t>that are needed to </a:t>
            </a:r>
            <a:r>
              <a:rPr lang="de-DE" sz="2400" b="1" kern="0" dirty="0">
                <a:solidFill>
                  <a:schemeClr val="tx2"/>
                </a:solidFill>
                <a:latin typeface="+mj-lt"/>
              </a:rPr>
              <a:t>list, order, move, store </a:t>
            </a:r>
            <a:r>
              <a:rPr lang="de-DE" sz="2400" kern="0" dirty="0">
                <a:solidFill>
                  <a:schemeClr val="tx2"/>
                </a:solidFill>
                <a:latin typeface="+mj-lt"/>
              </a:rPr>
              <a:t>and </a:t>
            </a:r>
            <a:r>
              <a:rPr lang="de-DE" sz="2400" b="1" kern="0" dirty="0">
                <a:solidFill>
                  <a:schemeClr val="tx2"/>
                </a:solidFill>
                <a:latin typeface="+mj-lt"/>
              </a:rPr>
              <a:t>sell</a:t>
            </a:r>
            <a:r>
              <a:rPr lang="de-DE" sz="2400" kern="0" dirty="0">
                <a:solidFill>
                  <a:schemeClr val="tx2"/>
                </a:solidFill>
                <a:latin typeface="+mj-lt"/>
              </a:rPr>
              <a:t> products.</a:t>
            </a:r>
            <a:endParaRPr lang="en-GB" sz="2400" kern="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133" name="Gruppieren 132">
            <a:extLst>
              <a:ext uri="{FF2B5EF4-FFF2-40B4-BE49-F238E27FC236}">
                <a16:creationId xmlns:a16="http://schemas.microsoft.com/office/drawing/2014/main" id="{EC243360-DF52-D4E0-D1A1-860A43C6FAC1}"/>
              </a:ext>
            </a:extLst>
          </p:cNvPr>
          <p:cNvGrpSpPr/>
          <p:nvPr/>
        </p:nvGrpSpPr>
        <p:grpSpPr>
          <a:xfrm>
            <a:off x="6428579" y="2801165"/>
            <a:ext cx="5106466" cy="2664296"/>
            <a:chOff x="2720976" y="969204"/>
            <a:chExt cx="6423023" cy="3351209"/>
          </a:xfrm>
        </p:grpSpPr>
        <p:sp>
          <p:nvSpPr>
            <p:cNvPr id="134" name="Oval 6">
              <a:extLst>
                <a:ext uri="{FF2B5EF4-FFF2-40B4-BE49-F238E27FC236}">
                  <a16:creationId xmlns:a16="http://schemas.microsoft.com/office/drawing/2014/main" id="{6F452D2F-6A09-92AA-0DA3-76A17178434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2720976" y="1210351"/>
              <a:ext cx="3017520" cy="3017520"/>
            </a:xfrm>
            <a:prstGeom prst="ellipse">
              <a:avLst/>
            </a:prstGeom>
            <a:solidFill>
              <a:srgbClr val="008DB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5" name="Oval 7">
              <a:extLst>
                <a:ext uri="{FF2B5EF4-FFF2-40B4-BE49-F238E27FC236}">
                  <a16:creationId xmlns:a16="http://schemas.microsoft.com/office/drawing/2014/main" id="{0EC465BD-A607-1CED-E9B5-0DBA067A94E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086736" y="1576111"/>
              <a:ext cx="2286000" cy="2286000"/>
            </a:xfrm>
            <a:prstGeom prst="ellipse">
              <a:avLst/>
            </a:prstGeom>
            <a:solidFill>
              <a:srgbClr val="7AC14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6" name="Oval 8">
              <a:extLst>
                <a:ext uri="{FF2B5EF4-FFF2-40B4-BE49-F238E27FC236}">
                  <a16:creationId xmlns:a16="http://schemas.microsoft.com/office/drawing/2014/main" id="{99E70482-C333-7F9F-7FA6-031799D149B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452496" y="1941871"/>
              <a:ext cx="1554480" cy="1554480"/>
            </a:xfrm>
            <a:prstGeom prst="ellipse">
              <a:avLst/>
            </a:prstGeom>
            <a:solidFill>
              <a:srgbClr val="F05587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7" name="Oval 9">
              <a:extLst>
                <a:ext uri="{FF2B5EF4-FFF2-40B4-BE49-F238E27FC236}">
                  <a16:creationId xmlns:a16="http://schemas.microsoft.com/office/drawing/2014/main" id="{6541EE2C-9F60-28E7-8A5E-53BB97E7586C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818255" y="2307631"/>
              <a:ext cx="822960" cy="822960"/>
            </a:xfrm>
            <a:prstGeom prst="ellipse">
              <a:avLst/>
            </a:prstGeom>
            <a:solidFill>
              <a:srgbClr val="FBB03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8" name="TextBox 10">
              <a:extLst>
                <a:ext uri="{FF2B5EF4-FFF2-40B4-BE49-F238E27FC236}">
                  <a16:creationId xmlns:a16="http://schemas.microsoft.com/office/drawing/2014/main" id="{B800D338-E038-257E-462F-515E589E1DE7}"/>
                </a:ext>
              </a:extLst>
            </p:cNvPr>
            <p:cNvSpPr txBox="1"/>
            <p:nvPr/>
          </p:nvSpPr>
          <p:spPr bwMode="gray">
            <a:xfrm>
              <a:off x="3178079" y="1412760"/>
              <a:ext cx="2103315" cy="230833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9117067"/>
                </a:avLst>
              </a:prstTxWarp>
              <a:spAutoFit/>
            </a:bodyPr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Local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 (xx)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</a:endParaRPr>
            </a:p>
          </p:txBody>
        </p:sp>
        <p:sp>
          <p:nvSpPr>
            <p:cNvPr id="139" name="TextBox 12">
              <a:extLst>
                <a:ext uri="{FF2B5EF4-FFF2-40B4-BE49-F238E27FC236}">
                  <a16:creationId xmlns:a16="http://schemas.microsoft.com/office/drawing/2014/main" id="{7756EFD2-1EE6-E0CA-6A89-DA905F443FF2}"/>
                </a:ext>
              </a:extLst>
            </p:cNvPr>
            <p:cNvSpPr txBox="1"/>
            <p:nvPr/>
          </p:nvSpPr>
          <p:spPr bwMode="gray">
            <a:xfrm>
              <a:off x="3643915" y="1797753"/>
              <a:ext cx="1171641" cy="508723"/>
            </a:xfrm>
            <a:prstGeom prst="rect">
              <a:avLst/>
            </a:prstGeom>
            <a:noFill/>
          </p:spPr>
          <p:txBody>
            <a:bodyPr spcFirstLastPara="1" wrap="square" numCol="1" rtlCol="0">
              <a:prstTxWarp prst="textArchUp">
                <a:avLst>
                  <a:gd name="adj" fmla="val 9834279"/>
                </a:avLst>
              </a:prstTxWarp>
              <a:spAutoFit/>
            </a:bodyPr>
            <a:lstStyle>
              <a:defPPr>
                <a:defRPr lang="en-US"/>
              </a:defPPr>
              <a:lvl1pPr algn="ctr">
                <a:defRPr sz="1400" b="1">
                  <a:solidFill>
                    <a:schemeClr val="bg1"/>
                  </a:solidFill>
                  <a:latin typeface="+mj-lt"/>
                </a:defRPr>
              </a:lvl1pPr>
            </a:lstStyle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Regional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(47)</a:t>
              </a:r>
            </a:p>
          </p:txBody>
        </p:sp>
        <p:sp>
          <p:nvSpPr>
            <p:cNvPr id="140" name="TextBox 15">
              <a:extLst>
                <a:ext uri="{FF2B5EF4-FFF2-40B4-BE49-F238E27FC236}">
                  <a16:creationId xmlns:a16="http://schemas.microsoft.com/office/drawing/2014/main" id="{694A2D17-66C9-A8A5-69DD-5053C867E0EF}"/>
                </a:ext>
              </a:extLst>
            </p:cNvPr>
            <p:cNvSpPr txBox="1"/>
            <p:nvPr/>
          </p:nvSpPr>
          <p:spPr bwMode="gray">
            <a:xfrm>
              <a:off x="3663240" y="2169478"/>
              <a:ext cx="1152315" cy="654362"/>
            </a:xfrm>
            <a:prstGeom prst="rect">
              <a:avLst/>
            </a:prstGeom>
            <a:noFill/>
          </p:spPr>
          <p:txBody>
            <a:bodyPr spcFirstLastPara="1" wrap="square" numCol="1" rtlCol="0">
              <a:prstTxWarp prst="textArchUp">
                <a:avLst>
                  <a:gd name="adj" fmla="val 11051162"/>
                </a:avLst>
              </a:prstTxWarp>
              <a:spAutoFit/>
            </a:bodyPr>
            <a:lstStyle>
              <a:defPPr>
                <a:defRPr lang="en-US"/>
              </a:defPPr>
              <a:lvl1pPr algn="ctr">
                <a:defRPr sz="1400" b="1">
                  <a:solidFill>
                    <a:schemeClr val="bg1"/>
                  </a:solidFill>
                  <a:latin typeface="+mj-lt"/>
                </a:defRPr>
              </a:lvl1pPr>
            </a:lstStyle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Global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(28)</a:t>
              </a:r>
            </a:p>
          </p:txBody>
        </p:sp>
        <p:sp>
          <p:nvSpPr>
            <p:cNvPr id="141" name="TextBox 16">
              <a:extLst>
                <a:ext uri="{FF2B5EF4-FFF2-40B4-BE49-F238E27FC236}">
                  <a16:creationId xmlns:a16="http://schemas.microsoft.com/office/drawing/2014/main" id="{4E05B833-EAC3-C03C-EEEF-8A28EA1736A9}"/>
                </a:ext>
              </a:extLst>
            </p:cNvPr>
            <p:cNvSpPr txBox="1"/>
            <p:nvPr/>
          </p:nvSpPr>
          <p:spPr bwMode="gray">
            <a:xfrm>
              <a:off x="3777107" y="2506272"/>
              <a:ext cx="9052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Core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</a:rPr>
                <a:t>(54)</a:t>
              </a:r>
            </a:p>
          </p:txBody>
        </p:sp>
        <p:sp>
          <p:nvSpPr>
            <p:cNvPr id="142" name="Rectangle 36">
              <a:extLst>
                <a:ext uri="{FF2B5EF4-FFF2-40B4-BE49-F238E27FC236}">
                  <a16:creationId xmlns:a16="http://schemas.microsoft.com/office/drawing/2014/main" id="{4051A083-3677-C24E-D14C-1146FF000292}"/>
                </a:ext>
              </a:extLst>
            </p:cNvPr>
            <p:cNvSpPr>
              <a:spLocks/>
            </p:cNvSpPr>
            <p:nvPr/>
          </p:nvSpPr>
          <p:spPr>
            <a:xfrm>
              <a:off x="6033187" y="1833096"/>
              <a:ext cx="3110812" cy="765467"/>
            </a:xfrm>
            <a:prstGeom prst="rect">
              <a:avLst/>
            </a:prstGeom>
            <a:solidFill>
              <a:srgbClr val="F05587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3" name="Rectangle 37">
              <a:extLst>
                <a:ext uri="{FF2B5EF4-FFF2-40B4-BE49-F238E27FC236}">
                  <a16:creationId xmlns:a16="http://schemas.microsoft.com/office/drawing/2014/main" id="{66E999B8-D83E-6605-AEC9-9F777F47A174}"/>
                </a:ext>
              </a:extLst>
            </p:cNvPr>
            <p:cNvSpPr>
              <a:spLocks/>
            </p:cNvSpPr>
            <p:nvPr/>
          </p:nvSpPr>
          <p:spPr>
            <a:xfrm>
              <a:off x="6033187" y="2694021"/>
              <a:ext cx="3110812" cy="765467"/>
            </a:xfrm>
            <a:prstGeom prst="rect">
              <a:avLst/>
            </a:prstGeom>
            <a:solidFill>
              <a:srgbClr val="7AC143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4" name="Rectangle 38">
              <a:extLst>
                <a:ext uri="{FF2B5EF4-FFF2-40B4-BE49-F238E27FC236}">
                  <a16:creationId xmlns:a16="http://schemas.microsoft.com/office/drawing/2014/main" id="{7C82C279-2EB3-C7EF-6FFB-884176F6EEC8}"/>
                </a:ext>
              </a:extLst>
            </p:cNvPr>
            <p:cNvSpPr>
              <a:spLocks/>
            </p:cNvSpPr>
            <p:nvPr/>
          </p:nvSpPr>
          <p:spPr>
            <a:xfrm>
              <a:off x="6033187" y="3554945"/>
              <a:ext cx="3110812" cy="765467"/>
            </a:xfrm>
            <a:prstGeom prst="rect">
              <a:avLst/>
            </a:prstGeom>
            <a:solidFill>
              <a:srgbClr val="00B6DE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5" name="Rectangle 39">
              <a:extLst>
                <a:ext uri="{FF2B5EF4-FFF2-40B4-BE49-F238E27FC236}">
                  <a16:creationId xmlns:a16="http://schemas.microsoft.com/office/drawing/2014/main" id="{87D42CC7-6F49-E324-982E-4BAEBB872C7A}"/>
                </a:ext>
              </a:extLst>
            </p:cNvPr>
            <p:cNvSpPr>
              <a:spLocks/>
            </p:cNvSpPr>
            <p:nvPr/>
          </p:nvSpPr>
          <p:spPr>
            <a:xfrm>
              <a:off x="6033187" y="972172"/>
              <a:ext cx="3110812" cy="765467"/>
            </a:xfrm>
            <a:prstGeom prst="rect">
              <a:avLst/>
            </a:prstGeom>
            <a:solidFill>
              <a:srgbClr val="FBB034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31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6" name="TextBox 5">
              <a:extLst>
                <a:ext uri="{FF2B5EF4-FFF2-40B4-BE49-F238E27FC236}">
                  <a16:creationId xmlns:a16="http://schemas.microsoft.com/office/drawing/2014/main" id="{7D3E47A7-F093-E21A-92E9-F02735EA9496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6131214" y="972172"/>
              <a:ext cx="2808053" cy="765467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193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4363" lvl="3" indent="-155575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30175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marL="1190" marR="0" lvl="1" indent="0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BB034"/>
                  </a:solidFill>
                  <a:effectLst/>
                  <a:uLnTx/>
                  <a:uFillTx/>
                  <a:latin typeface="Verdana"/>
                </a:rPr>
                <a:t>Global core layer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Verdana"/>
              </a:endParaRP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GTIN</a:t>
              </a: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Image</a:t>
              </a:r>
            </a:p>
          </p:txBody>
        </p:sp>
        <p:sp>
          <p:nvSpPr>
            <p:cNvPr id="158" name="TextBox 13">
              <a:extLst>
                <a:ext uri="{FF2B5EF4-FFF2-40B4-BE49-F238E27FC236}">
                  <a16:creationId xmlns:a16="http://schemas.microsoft.com/office/drawing/2014/main" id="{781AAEAE-68D1-FA61-978F-3306DDA9E509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6131214" y="1833097"/>
              <a:ext cx="2808053" cy="765467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193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4363" lvl="3" indent="-155575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30175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marL="1190" marR="0" lvl="1" indent="0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05587"/>
                  </a:solidFill>
                  <a:effectLst/>
                  <a:uLnTx/>
                  <a:uFillTx/>
                  <a:latin typeface="Verdana"/>
                </a:rPr>
                <a:t>Global category layer</a:t>
              </a:r>
              <a:endPara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Verdana"/>
              </a:endParaRP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Ingredients</a:t>
              </a: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Nutritional facts</a:t>
              </a:r>
            </a:p>
          </p:txBody>
        </p:sp>
        <p:sp>
          <p:nvSpPr>
            <p:cNvPr id="159" name="TextBox 25">
              <a:extLst>
                <a:ext uri="{FF2B5EF4-FFF2-40B4-BE49-F238E27FC236}">
                  <a16:creationId xmlns:a16="http://schemas.microsoft.com/office/drawing/2014/main" id="{6B9F6584-2F7B-537F-B912-BD4F76FAF43B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6131214" y="2694021"/>
              <a:ext cx="2808053" cy="765467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193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4363" lvl="3" indent="-155575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30175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marL="0" marR="0" lvl="0" indent="0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7AC143"/>
                  </a:solidFill>
                  <a:effectLst/>
                  <a:uLnTx/>
                  <a:uFillTx/>
                  <a:latin typeface="Verdana"/>
                </a:rPr>
                <a:t>Regional category layer</a:t>
              </a: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Package material</a:t>
              </a: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Allergen statement</a:t>
              </a:r>
            </a:p>
          </p:txBody>
        </p:sp>
        <p:sp>
          <p:nvSpPr>
            <p:cNvPr id="160" name="TextBox 27">
              <a:extLst>
                <a:ext uri="{FF2B5EF4-FFF2-40B4-BE49-F238E27FC236}">
                  <a16:creationId xmlns:a16="http://schemas.microsoft.com/office/drawing/2014/main" id="{89F4DBBE-97A5-76B1-8084-1894764A81C9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6131214" y="3554945"/>
              <a:ext cx="2808053" cy="765467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193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4363" lvl="3" indent="-155575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30175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marL="0" marR="0" lvl="0" indent="0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8DBD"/>
                  </a:solidFill>
                  <a:effectLst/>
                  <a:uLnTx/>
                  <a:uFillTx/>
                  <a:latin typeface="Verdana"/>
                </a:rPr>
                <a:t>Country layer</a:t>
              </a: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Order quantity minimum</a:t>
              </a:r>
            </a:p>
            <a:p>
              <a:pPr marL="193675" marR="0" lvl="1" indent="-192088" defTabSz="1218026" eaLnBrk="1" fontAlgn="auto" latinLnBrk="0" hangingPunct="1">
                <a:lnSpc>
                  <a:spcPct val="100000"/>
                </a:lnSpc>
                <a:spcBef>
                  <a:spcPts val="450"/>
                </a:spcBef>
                <a:spcAft>
                  <a:spcPts val="0"/>
                </a:spcAft>
                <a:buClr>
                  <a:srgbClr val="002C6C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</a:rPr>
                <a:t>VAT</a:t>
              </a:r>
            </a:p>
          </p:txBody>
        </p:sp>
        <p:grpSp>
          <p:nvGrpSpPr>
            <p:cNvPr id="161" name="Group 18">
              <a:extLst>
                <a:ext uri="{FF2B5EF4-FFF2-40B4-BE49-F238E27FC236}">
                  <a16:creationId xmlns:a16="http://schemas.microsoft.com/office/drawing/2014/main" id="{E1B51232-CAD5-E555-46C3-C9FFD410B1F1}"/>
                </a:ext>
              </a:extLst>
            </p:cNvPr>
            <p:cNvGrpSpPr/>
            <p:nvPr/>
          </p:nvGrpSpPr>
          <p:grpSpPr>
            <a:xfrm>
              <a:off x="4294683" y="969204"/>
              <a:ext cx="1757174" cy="3351209"/>
              <a:chOff x="6056881" y="1292271"/>
              <a:chExt cx="1989775" cy="4572987"/>
            </a:xfrm>
          </p:grpSpPr>
          <p:cxnSp>
            <p:nvCxnSpPr>
              <p:cNvPr id="163" name="Straight Connector 45">
                <a:extLst>
                  <a:ext uri="{FF2B5EF4-FFF2-40B4-BE49-F238E27FC236}">
                    <a16:creationId xmlns:a16="http://schemas.microsoft.com/office/drawing/2014/main" id="{3D768D3A-FBE5-E87E-54E5-DAE7EDE029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15394" y="1292271"/>
                <a:ext cx="0" cy="1045466"/>
              </a:xfrm>
              <a:prstGeom prst="line">
                <a:avLst/>
              </a:prstGeom>
              <a:noFill/>
              <a:ln w="19050" cap="flat" cmpd="sng" algn="ctr">
                <a:solidFill>
                  <a:srgbClr val="FBB034"/>
                </a:solidFill>
                <a:prstDash val="solid"/>
              </a:ln>
              <a:effectLst/>
            </p:spPr>
          </p:cxnSp>
          <p:cxnSp>
            <p:nvCxnSpPr>
              <p:cNvPr id="164" name="Straight Connector 46">
                <a:extLst>
                  <a:ext uri="{FF2B5EF4-FFF2-40B4-BE49-F238E27FC236}">
                    <a16:creationId xmlns:a16="http://schemas.microsoft.com/office/drawing/2014/main" id="{BA70D23B-CA7C-1E11-0E58-B1BE909EE0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15394" y="2468111"/>
                <a:ext cx="0" cy="1039457"/>
              </a:xfrm>
              <a:prstGeom prst="line">
                <a:avLst/>
              </a:prstGeom>
              <a:noFill/>
              <a:ln w="19050" cap="flat" cmpd="sng" algn="ctr">
                <a:solidFill>
                  <a:srgbClr val="F05587"/>
                </a:solidFill>
                <a:prstDash val="solid"/>
              </a:ln>
              <a:effectLst/>
              <a:scene3d>
                <a:camera prst="orthographicFront">
                  <a:rot lat="0" lon="0" rev="0"/>
                </a:camera>
                <a:lightRig rig="threePt" dir="t"/>
              </a:scene3d>
            </p:spPr>
          </p:cxnSp>
          <p:cxnSp>
            <p:nvCxnSpPr>
              <p:cNvPr id="165" name="Straight Connector 47">
                <a:extLst>
                  <a:ext uri="{FF2B5EF4-FFF2-40B4-BE49-F238E27FC236}">
                    <a16:creationId xmlns:a16="http://schemas.microsoft.com/office/drawing/2014/main" id="{36E57057-3522-EC25-0934-39BA391D6A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15394" y="3643952"/>
                <a:ext cx="3175" cy="1037194"/>
              </a:xfrm>
              <a:prstGeom prst="line">
                <a:avLst/>
              </a:prstGeom>
              <a:noFill/>
              <a:ln w="19050" cap="flat" cmpd="sng" algn="ctr">
                <a:solidFill>
                  <a:srgbClr val="7AC143"/>
                </a:solidFill>
                <a:prstDash val="solid"/>
              </a:ln>
              <a:effectLst/>
            </p:spPr>
          </p:cxnSp>
          <p:cxnSp>
            <p:nvCxnSpPr>
              <p:cNvPr id="166" name="Straight Connector 51">
                <a:extLst>
                  <a:ext uri="{FF2B5EF4-FFF2-40B4-BE49-F238E27FC236}">
                    <a16:creationId xmlns:a16="http://schemas.microsoft.com/office/drawing/2014/main" id="{2098A383-31AF-9DB8-C5CB-55FAE487ACE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15394" y="4819793"/>
                <a:ext cx="7107" cy="1045465"/>
              </a:xfrm>
              <a:prstGeom prst="line">
                <a:avLst/>
              </a:prstGeom>
              <a:noFill/>
              <a:ln w="19050" cap="flat" cmpd="sng" algn="ctr">
                <a:solidFill>
                  <a:srgbClr val="008DBD"/>
                </a:solidFill>
                <a:prstDash val="solid"/>
              </a:ln>
              <a:effectLst/>
            </p:spPr>
          </p:cxnSp>
          <p:sp>
            <p:nvSpPr>
              <p:cNvPr id="167" name="Freeform: Shape 52">
                <a:extLst>
                  <a:ext uri="{FF2B5EF4-FFF2-40B4-BE49-F238E27FC236}">
                    <a16:creationId xmlns:a16="http://schemas.microsoft.com/office/drawing/2014/main" id="{4DB825D3-5E38-FB38-EEE1-6D880ED76374}"/>
                  </a:ext>
                </a:extLst>
              </p:cNvPr>
              <p:cNvSpPr/>
              <p:nvPr/>
            </p:nvSpPr>
            <p:spPr>
              <a:xfrm>
                <a:off x="6645552" y="3640158"/>
                <a:ext cx="1391952" cy="1102180"/>
              </a:xfrm>
              <a:custGeom>
                <a:avLst/>
                <a:gdLst>
                  <a:gd name="connsiteX0" fmla="*/ 0 w 2491316"/>
                  <a:gd name="connsiteY0" fmla="*/ 846667 h 1339850"/>
                  <a:gd name="connsiteX1" fmla="*/ 0 w 2491316"/>
                  <a:gd name="connsiteY1" fmla="*/ 1339850 h 1339850"/>
                  <a:gd name="connsiteX2" fmla="*/ 2491316 w 2491316"/>
                  <a:gd name="connsiteY2" fmla="*/ 1289050 h 1339850"/>
                  <a:gd name="connsiteX3" fmla="*/ 2491316 w 2491316"/>
                  <a:gd name="connsiteY3" fmla="*/ 0 h 1339850"/>
                  <a:gd name="connsiteX4" fmla="*/ 0 w 2491316"/>
                  <a:gd name="connsiteY4" fmla="*/ 846667 h 1339850"/>
                  <a:gd name="connsiteX0" fmla="*/ 0 w 2491316"/>
                  <a:gd name="connsiteY0" fmla="*/ 846667 h 1339850"/>
                  <a:gd name="connsiteX1" fmla="*/ 0 w 2491316"/>
                  <a:gd name="connsiteY1" fmla="*/ 1339850 h 1339850"/>
                  <a:gd name="connsiteX2" fmla="*/ 2486502 w 2491316"/>
                  <a:gd name="connsiteY2" fmla="*/ 1134269 h 1339850"/>
                  <a:gd name="connsiteX3" fmla="*/ 2491316 w 2491316"/>
                  <a:gd name="connsiteY3" fmla="*/ 0 h 1339850"/>
                  <a:gd name="connsiteX4" fmla="*/ 0 w 2491316"/>
                  <a:gd name="connsiteY4" fmla="*/ 846667 h 1339850"/>
                  <a:gd name="connsiteX0" fmla="*/ 0 w 2486965"/>
                  <a:gd name="connsiteY0" fmla="*/ 837142 h 1330325"/>
                  <a:gd name="connsiteX1" fmla="*/ 0 w 2486965"/>
                  <a:gd name="connsiteY1" fmla="*/ 1330325 h 1330325"/>
                  <a:gd name="connsiteX2" fmla="*/ 2486502 w 2486965"/>
                  <a:gd name="connsiteY2" fmla="*/ 1124744 h 1330325"/>
                  <a:gd name="connsiteX3" fmla="*/ 2486502 w 2486965"/>
                  <a:gd name="connsiteY3" fmla="*/ 0 h 1330325"/>
                  <a:gd name="connsiteX4" fmla="*/ 0 w 2486965"/>
                  <a:gd name="connsiteY4" fmla="*/ 837142 h 1330325"/>
                  <a:gd name="connsiteX0" fmla="*/ 0 w 2486965"/>
                  <a:gd name="connsiteY0" fmla="*/ 837142 h 1330325"/>
                  <a:gd name="connsiteX1" fmla="*/ 0 w 2486965"/>
                  <a:gd name="connsiteY1" fmla="*/ 1330325 h 1330325"/>
                  <a:gd name="connsiteX2" fmla="*/ 2486502 w 2486965"/>
                  <a:gd name="connsiteY2" fmla="*/ 1162844 h 1330325"/>
                  <a:gd name="connsiteX3" fmla="*/ 2486502 w 2486965"/>
                  <a:gd name="connsiteY3" fmla="*/ 0 h 1330325"/>
                  <a:gd name="connsiteX4" fmla="*/ 0 w 2486965"/>
                  <a:gd name="connsiteY4" fmla="*/ 837142 h 1330325"/>
                  <a:gd name="connsiteX0" fmla="*/ 0 w 2486684"/>
                  <a:gd name="connsiteY0" fmla="*/ 887942 h 1381125"/>
                  <a:gd name="connsiteX1" fmla="*/ 0 w 2486684"/>
                  <a:gd name="connsiteY1" fmla="*/ 1381125 h 1381125"/>
                  <a:gd name="connsiteX2" fmla="*/ 2486502 w 2486684"/>
                  <a:gd name="connsiteY2" fmla="*/ 1213644 h 1381125"/>
                  <a:gd name="connsiteX3" fmla="*/ 2480083 w 2486684"/>
                  <a:gd name="connsiteY3" fmla="*/ 0 h 1381125"/>
                  <a:gd name="connsiteX4" fmla="*/ 0 w 2486684"/>
                  <a:gd name="connsiteY4" fmla="*/ 887942 h 1381125"/>
                  <a:gd name="connsiteX0" fmla="*/ 0 w 2517494"/>
                  <a:gd name="connsiteY0" fmla="*/ 842222 h 1381125"/>
                  <a:gd name="connsiteX1" fmla="*/ 30810 w 2517494"/>
                  <a:gd name="connsiteY1" fmla="*/ 1381125 h 1381125"/>
                  <a:gd name="connsiteX2" fmla="*/ 2517312 w 2517494"/>
                  <a:gd name="connsiteY2" fmla="*/ 1213644 h 1381125"/>
                  <a:gd name="connsiteX3" fmla="*/ 2510893 w 2517494"/>
                  <a:gd name="connsiteY3" fmla="*/ 0 h 1381125"/>
                  <a:gd name="connsiteX4" fmla="*/ 0 w 2517494"/>
                  <a:gd name="connsiteY4" fmla="*/ 842222 h 1381125"/>
                  <a:gd name="connsiteX0" fmla="*/ 0 w 2517494"/>
                  <a:gd name="connsiteY0" fmla="*/ 842222 h 1289685"/>
                  <a:gd name="connsiteX1" fmla="*/ 30810 w 2517494"/>
                  <a:gd name="connsiteY1" fmla="*/ 1289685 h 1289685"/>
                  <a:gd name="connsiteX2" fmla="*/ 2517312 w 2517494"/>
                  <a:gd name="connsiteY2" fmla="*/ 1213644 h 1289685"/>
                  <a:gd name="connsiteX3" fmla="*/ 2510893 w 2517494"/>
                  <a:gd name="connsiteY3" fmla="*/ 0 h 1289685"/>
                  <a:gd name="connsiteX4" fmla="*/ 0 w 2517494"/>
                  <a:gd name="connsiteY4" fmla="*/ 842222 h 1289685"/>
                  <a:gd name="connsiteX0" fmla="*/ 0 w 2690800"/>
                  <a:gd name="connsiteY0" fmla="*/ 789835 h 1289685"/>
                  <a:gd name="connsiteX1" fmla="*/ 204116 w 2690800"/>
                  <a:gd name="connsiteY1" fmla="*/ 1289685 h 1289685"/>
                  <a:gd name="connsiteX2" fmla="*/ 2690618 w 2690800"/>
                  <a:gd name="connsiteY2" fmla="*/ 1213644 h 1289685"/>
                  <a:gd name="connsiteX3" fmla="*/ 2684199 w 2690800"/>
                  <a:gd name="connsiteY3" fmla="*/ 0 h 1289685"/>
                  <a:gd name="connsiteX4" fmla="*/ 0 w 2690800"/>
                  <a:gd name="connsiteY4" fmla="*/ 789835 h 1289685"/>
                  <a:gd name="connsiteX0" fmla="*/ 123240 w 2814040"/>
                  <a:gd name="connsiteY0" fmla="*/ 789835 h 1289685"/>
                  <a:gd name="connsiteX1" fmla="*/ 0 w 2814040"/>
                  <a:gd name="connsiteY1" fmla="*/ 1289685 h 1289685"/>
                  <a:gd name="connsiteX2" fmla="*/ 2813858 w 2814040"/>
                  <a:gd name="connsiteY2" fmla="*/ 1213644 h 1289685"/>
                  <a:gd name="connsiteX3" fmla="*/ 2807439 w 2814040"/>
                  <a:gd name="connsiteY3" fmla="*/ 0 h 1289685"/>
                  <a:gd name="connsiteX4" fmla="*/ 123240 w 2814040"/>
                  <a:gd name="connsiteY4" fmla="*/ 789835 h 12896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14040" h="1289685">
                    <a:moveTo>
                      <a:pt x="123240" y="789835"/>
                    </a:moveTo>
                    <a:lnTo>
                      <a:pt x="0" y="1289685"/>
                    </a:lnTo>
                    <a:lnTo>
                      <a:pt x="2813858" y="1213644"/>
                    </a:lnTo>
                    <a:cubicBezTo>
                      <a:pt x="2815463" y="835554"/>
                      <a:pt x="2805834" y="378090"/>
                      <a:pt x="2807439" y="0"/>
                    </a:cubicBezTo>
                    <a:lnTo>
                      <a:pt x="123240" y="789835"/>
                    </a:lnTo>
                    <a:close/>
                  </a:path>
                </a:pathLst>
              </a:custGeom>
              <a:gradFill>
                <a:gsLst>
                  <a:gs pos="0">
                    <a:srgbClr val="FFFFFF">
                      <a:alpha val="0"/>
                      <a:lumMod val="57000"/>
                    </a:srgbClr>
                  </a:gs>
                  <a:gs pos="100000">
                    <a:srgbClr val="7AC143">
                      <a:alpha val="78000"/>
                    </a:srgbClr>
                  </a:gs>
                </a:gsLst>
                <a:lin ang="0" scaled="1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53">
                <a:extLst>
                  <a:ext uri="{FF2B5EF4-FFF2-40B4-BE49-F238E27FC236}">
                    <a16:creationId xmlns:a16="http://schemas.microsoft.com/office/drawing/2014/main" id="{96B01EC8-31EF-2DC5-AEDA-3365FB07F5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539538" y="4819793"/>
                <a:ext cx="1507118" cy="1045465"/>
              </a:xfrm>
              <a:custGeom>
                <a:avLst/>
                <a:gdLst>
                  <a:gd name="connsiteX0" fmla="*/ 0 w 2501900"/>
                  <a:gd name="connsiteY0" fmla="*/ 0 h 808567"/>
                  <a:gd name="connsiteX1" fmla="*/ 0 w 2501900"/>
                  <a:gd name="connsiteY1" fmla="*/ 486833 h 808567"/>
                  <a:gd name="connsiteX2" fmla="*/ 2501900 w 2501900"/>
                  <a:gd name="connsiteY2" fmla="*/ 808567 h 808567"/>
                  <a:gd name="connsiteX3" fmla="*/ 2501900 w 2501900"/>
                  <a:gd name="connsiteY3" fmla="*/ 63500 h 808567"/>
                  <a:gd name="connsiteX4" fmla="*/ 0 w 2501900"/>
                  <a:gd name="connsiteY4" fmla="*/ 0 h 808567"/>
                  <a:gd name="connsiteX0" fmla="*/ 0 w 2501900"/>
                  <a:gd name="connsiteY0" fmla="*/ 0 h 808567"/>
                  <a:gd name="connsiteX1" fmla="*/ 0 w 2501900"/>
                  <a:gd name="connsiteY1" fmla="*/ 486833 h 808567"/>
                  <a:gd name="connsiteX2" fmla="*/ 2501900 w 2501900"/>
                  <a:gd name="connsiteY2" fmla="*/ 808567 h 808567"/>
                  <a:gd name="connsiteX3" fmla="*/ 2498725 w 2501900"/>
                  <a:gd name="connsiteY3" fmla="*/ 52388 h 808567"/>
                  <a:gd name="connsiteX4" fmla="*/ 0 w 2501900"/>
                  <a:gd name="connsiteY4" fmla="*/ 0 h 808567"/>
                  <a:gd name="connsiteX0" fmla="*/ 0 w 2501900"/>
                  <a:gd name="connsiteY0" fmla="*/ 0 h 808567"/>
                  <a:gd name="connsiteX1" fmla="*/ 3194 w 2501900"/>
                  <a:gd name="connsiteY1" fmla="*/ 491639 h 808567"/>
                  <a:gd name="connsiteX2" fmla="*/ 2501900 w 2501900"/>
                  <a:gd name="connsiteY2" fmla="*/ 808567 h 808567"/>
                  <a:gd name="connsiteX3" fmla="*/ 2498725 w 2501900"/>
                  <a:gd name="connsiteY3" fmla="*/ 52388 h 808567"/>
                  <a:gd name="connsiteX4" fmla="*/ 0 w 2501900"/>
                  <a:gd name="connsiteY4" fmla="*/ 0 h 808567"/>
                  <a:gd name="connsiteX0" fmla="*/ 0 w 2503706"/>
                  <a:gd name="connsiteY0" fmla="*/ 0 h 808567"/>
                  <a:gd name="connsiteX1" fmla="*/ 3194 w 2503706"/>
                  <a:gd name="connsiteY1" fmla="*/ 491639 h 808567"/>
                  <a:gd name="connsiteX2" fmla="*/ 2501900 w 2503706"/>
                  <a:gd name="connsiteY2" fmla="*/ 808567 h 808567"/>
                  <a:gd name="connsiteX3" fmla="*/ 2503516 w 2503706"/>
                  <a:gd name="connsiteY3" fmla="*/ 49184 h 808567"/>
                  <a:gd name="connsiteX4" fmla="*/ 0 w 2503706"/>
                  <a:gd name="connsiteY4" fmla="*/ 0 h 808567"/>
                  <a:gd name="connsiteX0" fmla="*/ 145072 w 2648778"/>
                  <a:gd name="connsiteY0" fmla="*/ 0 h 808567"/>
                  <a:gd name="connsiteX1" fmla="*/ 6 w 2648778"/>
                  <a:gd name="connsiteY1" fmla="*/ 349544 h 808567"/>
                  <a:gd name="connsiteX2" fmla="*/ 2646972 w 2648778"/>
                  <a:gd name="connsiteY2" fmla="*/ 808567 h 808567"/>
                  <a:gd name="connsiteX3" fmla="*/ 2648588 w 2648778"/>
                  <a:gd name="connsiteY3" fmla="*/ 49184 h 808567"/>
                  <a:gd name="connsiteX4" fmla="*/ 145072 w 2648778"/>
                  <a:gd name="connsiteY4" fmla="*/ 0 h 808567"/>
                  <a:gd name="connsiteX0" fmla="*/ 145072 w 2648776"/>
                  <a:gd name="connsiteY0" fmla="*/ 0 h 808567"/>
                  <a:gd name="connsiteX1" fmla="*/ 6 w 2648776"/>
                  <a:gd name="connsiteY1" fmla="*/ 349544 h 808567"/>
                  <a:gd name="connsiteX2" fmla="*/ 2646972 w 2648776"/>
                  <a:gd name="connsiteY2" fmla="*/ 808567 h 808567"/>
                  <a:gd name="connsiteX3" fmla="*/ 2648587 w 2648776"/>
                  <a:gd name="connsiteY3" fmla="*/ 13660 h 808567"/>
                  <a:gd name="connsiteX4" fmla="*/ 145072 w 2648776"/>
                  <a:gd name="connsiteY4" fmla="*/ 0 h 808567"/>
                  <a:gd name="connsiteX0" fmla="*/ 145072 w 2656238"/>
                  <a:gd name="connsiteY0" fmla="*/ 0 h 839016"/>
                  <a:gd name="connsiteX1" fmla="*/ 6 w 2656238"/>
                  <a:gd name="connsiteY1" fmla="*/ 349544 h 839016"/>
                  <a:gd name="connsiteX2" fmla="*/ 2656238 w 2656238"/>
                  <a:gd name="connsiteY2" fmla="*/ 839016 h 839016"/>
                  <a:gd name="connsiteX3" fmla="*/ 2648587 w 2656238"/>
                  <a:gd name="connsiteY3" fmla="*/ 13660 h 839016"/>
                  <a:gd name="connsiteX4" fmla="*/ 145072 w 2656238"/>
                  <a:gd name="connsiteY4" fmla="*/ 0 h 839016"/>
                  <a:gd name="connsiteX0" fmla="*/ 145072 w 2665503"/>
                  <a:gd name="connsiteY0" fmla="*/ 0 h 879615"/>
                  <a:gd name="connsiteX1" fmla="*/ 6 w 2665503"/>
                  <a:gd name="connsiteY1" fmla="*/ 349544 h 879615"/>
                  <a:gd name="connsiteX2" fmla="*/ 2665503 w 2665503"/>
                  <a:gd name="connsiteY2" fmla="*/ 879615 h 879615"/>
                  <a:gd name="connsiteX3" fmla="*/ 2648587 w 2665503"/>
                  <a:gd name="connsiteY3" fmla="*/ 13660 h 879615"/>
                  <a:gd name="connsiteX4" fmla="*/ 145072 w 2665503"/>
                  <a:gd name="connsiteY4" fmla="*/ 0 h 879615"/>
                  <a:gd name="connsiteX0" fmla="*/ 145072 w 2665503"/>
                  <a:gd name="connsiteY0" fmla="*/ 10022 h 889637"/>
                  <a:gd name="connsiteX1" fmla="*/ 6 w 2665503"/>
                  <a:gd name="connsiteY1" fmla="*/ 359566 h 889637"/>
                  <a:gd name="connsiteX2" fmla="*/ 2665503 w 2665503"/>
                  <a:gd name="connsiteY2" fmla="*/ 889637 h 889637"/>
                  <a:gd name="connsiteX3" fmla="*/ 2657853 w 2665503"/>
                  <a:gd name="connsiteY3" fmla="*/ 0 h 889637"/>
                  <a:gd name="connsiteX4" fmla="*/ 145072 w 2665503"/>
                  <a:gd name="connsiteY4" fmla="*/ 10022 h 889637"/>
                  <a:gd name="connsiteX0" fmla="*/ 145072 w 2665503"/>
                  <a:gd name="connsiteY0" fmla="*/ 19044 h 898659"/>
                  <a:gd name="connsiteX1" fmla="*/ 6 w 2665503"/>
                  <a:gd name="connsiteY1" fmla="*/ 368588 h 898659"/>
                  <a:gd name="connsiteX2" fmla="*/ 2665503 w 2665503"/>
                  <a:gd name="connsiteY2" fmla="*/ 898659 h 898659"/>
                  <a:gd name="connsiteX3" fmla="*/ 2651675 w 2665503"/>
                  <a:gd name="connsiteY3" fmla="*/ 0 h 898659"/>
                  <a:gd name="connsiteX4" fmla="*/ 145072 w 2665503"/>
                  <a:gd name="connsiteY4" fmla="*/ 19044 h 898659"/>
                  <a:gd name="connsiteX0" fmla="*/ 411937 w 2932368"/>
                  <a:gd name="connsiteY0" fmla="*/ 19044 h 898659"/>
                  <a:gd name="connsiteX1" fmla="*/ 2 w 2932368"/>
                  <a:gd name="connsiteY1" fmla="*/ 330696 h 898659"/>
                  <a:gd name="connsiteX2" fmla="*/ 2932368 w 2932368"/>
                  <a:gd name="connsiteY2" fmla="*/ 898659 h 898659"/>
                  <a:gd name="connsiteX3" fmla="*/ 2918540 w 2932368"/>
                  <a:gd name="connsiteY3" fmla="*/ 0 h 898659"/>
                  <a:gd name="connsiteX4" fmla="*/ 411937 w 2932368"/>
                  <a:gd name="connsiteY4" fmla="*/ 19044 h 898659"/>
                  <a:gd name="connsiteX0" fmla="*/ 411937 w 2932368"/>
                  <a:gd name="connsiteY0" fmla="*/ 19044 h 898659"/>
                  <a:gd name="connsiteX1" fmla="*/ 2 w 2932368"/>
                  <a:gd name="connsiteY1" fmla="*/ 330696 h 898659"/>
                  <a:gd name="connsiteX2" fmla="*/ 2932368 w 2932368"/>
                  <a:gd name="connsiteY2" fmla="*/ 898659 h 898659"/>
                  <a:gd name="connsiteX3" fmla="*/ 2918540 w 2932368"/>
                  <a:gd name="connsiteY3" fmla="*/ 0 h 898659"/>
                  <a:gd name="connsiteX4" fmla="*/ 411937 w 2932368"/>
                  <a:gd name="connsiteY4" fmla="*/ 19044 h 898659"/>
                  <a:gd name="connsiteX0" fmla="*/ 411935 w 2932366"/>
                  <a:gd name="connsiteY0" fmla="*/ 19044 h 898659"/>
                  <a:gd name="connsiteX1" fmla="*/ 0 w 2932366"/>
                  <a:gd name="connsiteY1" fmla="*/ 330696 h 898659"/>
                  <a:gd name="connsiteX2" fmla="*/ 2932366 w 2932366"/>
                  <a:gd name="connsiteY2" fmla="*/ 898659 h 898659"/>
                  <a:gd name="connsiteX3" fmla="*/ 2918538 w 2932366"/>
                  <a:gd name="connsiteY3" fmla="*/ 0 h 898659"/>
                  <a:gd name="connsiteX4" fmla="*/ 411935 w 2932366"/>
                  <a:gd name="connsiteY4" fmla="*/ 19044 h 8986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32366" h="898659">
                    <a:moveTo>
                      <a:pt x="411935" y="19044"/>
                    </a:moveTo>
                    <a:lnTo>
                      <a:pt x="0" y="330696"/>
                    </a:lnTo>
                    <a:cubicBezTo>
                      <a:pt x="1025641" y="506710"/>
                      <a:pt x="2099464" y="793016"/>
                      <a:pt x="2932366" y="898659"/>
                    </a:cubicBezTo>
                    <a:cubicBezTo>
                      <a:pt x="2931308" y="646599"/>
                      <a:pt x="2919596" y="252060"/>
                      <a:pt x="2918538" y="0"/>
                    </a:cubicBezTo>
                    <a:lnTo>
                      <a:pt x="411935" y="19044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FFFF">
                      <a:alpha val="0"/>
                      <a:lumMod val="27000"/>
                    </a:srgbClr>
                  </a:gs>
                  <a:gs pos="100000">
                    <a:srgbClr val="00B6DE">
                      <a:alpha val="63000"/>
                      <a:lumMod val="78000"/>
                      <a:lumOff val="22000"/>
                    </a:srgbClr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54">
                <a:extLst>
                  <a:ext uri="{FF2B5EF4-FFF2-40B4-BE49-F238E27FC236}">
                    <a16:creationId xmlns:a16="http://schemas.microsoft.com/office/drawing/2014/main" id="{4A9C3BB7-8FB3-DCF5-6CF3-9C0676382580}"/>
                  </a:ext>
                </a:extLst>
              </p:cNvPr>
              <p:cNvSpPr/>
              <p:nvPr/>
            </p:nvSpPr>
            <p:spPr>
              <a:xfrm>
                <a:off x="6056881" y="1296229"/>
                <a:ext cx="1965104" cy="2526839"/>
              </a:xfrm>
              <a:custGeom>
                <a:avLst/>
                <a:gdLst>
                  <a:gd name="connsiteX0" fmla="*/ 0 w 2493434"/>
                  <a:gd name="connsiteY0" fmla="*/ 1854200 h 2940050"/>
                  <a:gd name="connsiteX1" fmla="*/ 0 w 2493434"/>
                  <a:gd name="connsiteY1" fmla="*/ 2940050 h 2940050"/>
                  <a:gd name="connsiteX2" fmla="*/ 2493434 w 2493434"/>
                  <a:gd name="connsiteY2" fmla="*/ 1085850 h 2940050"/>
                  <a:gd name="connsiteX3" fmla="*/ 2493434 w 2493434"/>
                  <a:gd name="connsiteY3" fmla="*/ 0 h 2940050"/>
                  <a:gd name="connsiteX4" fmla="*/ 0 w 2493434"/>
                  <a:gd name="connsiteY4" fmla="*/ 1854200 h 2940050"/>
                  <a:gd name="connsiteX0" fmla="*/ 0 w 2505687"/>
                  <a:gd name="connsiteY0" fmla="*/ 1854200 h 2940050"/>
                  <a:gd name="connsiteX1" fmla="*/ 0 w 2505687"/>
                  <a:gd name="connsiteY1" fmla="*/ 2940050 h 2940050"/>
                  <a:gd name="connsiteX2" fmla="*/ 2505687 w 2505687"/>
                  <a:gd name="connsiteY2" fmla="*/ 850900 h 2940050"/>
                  <a:gd name="connsiteX3" fmla="*/ 2493434 w 2505687"/>
                  <a:gd name="connsiteY3" fmla="*/ 0 h 2940050"/>
                  <a:gd name="connsiteX4" fmla="*/ 0 w 2505687"/>
                  <a:gd name="connsiteY4" fmla="*/ 1854200 h 2940050"/>
                  <a:gd name="connsiteX0" fmla="*/ 0 w 2505687"/>
                  <a:gd name="connsiteY0" fmla="*/ 1873250 h 2959100"/>
                  <a:gd name="connsiteX1" fmla="*/ 0 w 2505687"/>
                  <a:gd name="connsiteY1" fmla="*/ 2959100 h 2959100"/>
                  <a:gd name="connsiteX2" fmla="*/ 2505687 w 2505687"/>
                  <a:gd name="connsiteY2" fmla="*/ 869950 h 2959100"/>
                  <a:gd name="connsiteX3" fmla="*/ 2484243 w 2505687"/>
                  <a:gd name="connsiteY3" fmla="*/ 0 h 2959100"/>
                  <a:gd name="connsiteX4" fmla="*/ 0 w 2505687"/>
                  <a:gd name="connsiteY4" fmla="*/ 1873250 h 2959100"/>
                  <a:gd name="connsiteX0" fmla="*/ 0 w 2501092"/>
                  <a:gd name="connsiteY0" fmla="*/ 1873250 h 2959100"/>
                  <a:gd name="connsiteX1" fmla="*/ 0 w 2501092"/>
                  <a:gd name="connsiteY1" fmla="*/ 2959100 h 2959100"/>
                  <a:gd name="connsiteX2" fmla="*/ 2501092 w 2501092"/>
                  <a:gd name="connsiteY2" fmla="*/ 872332 h 2959100"/>
                  <a:gd name="connsiteX3" fmla="*/ 2484243 w 2501092"/>
                  <a:gd name="connsiteY3" fmla="*/ 0 h 2959100"/>
                  <a:gd name="connsiteX4" fmla="*/ 0 w 2501092"/>
                  <a:gd name="connsiteY4" fmla="*/ 1873250 h 2959100"/>
                  <a:gd name="connsiteX0" fmla="*/ 0 w 2484242"/>
                  <a:gd name="connsiteY0" fmla="*/ 1873250 h 2959100"/>
                  <a:gd name="connsiteX1" fmla="*/ 0 w 2484242"/>
                  <a:gd name="connsiteY1" fmla="*/ 2959100 h 2959100"/>
                  <a:gd name="connsiteX2" fmla="*/ 2476585 w 2484242"/>
                  <a:gd name="connsiteY2" fmla="*/ 910432 h 2959100"/>
                  <a:gd name="connsiteX3" fmla="*/ 2484243 w 2484242"/>
                  <a:gd name="connsiteY3" fmla="*/ 0 h 2959100"/>
                  <a:gd name="connsiteX4" fmla="*/ 0 w 2484242"/>
                  <a:gd name="connsiteY4" fmla="*/ 1873250 h 2959100"/>
                  <a:gd name="connsiteX0" fmla="*/ 0 w 2496497"/>
                  <a:gd name="connsiteY0" fmla="*/ 1911350 h 2997200"/>
                  <a:gd name="connsiteX1" fmla="*/ 0 w 2496497"/>
                  <a:gd name="connsiteY1" fmla="*/ 2997200 h 2997200"/>
                  <a:gd name="connsiteX2" fmla="*/ 2476585 w 2496497"/>
                  <a:gd name="connsiteY2" fmla="*/ 948532 h 2997200"/>
                  <a:gd name="connsiteX3" fmla="*/ 2496497 w 2496497"/>
                  <a:gd name="connsiteY3" fmla="*/ 0 h 2997200"/>
                  <a:gd name="connsiteX4" fmla="*/ 0 w 2496497"/>
                  <a:gd name="connsiteY4" fmla="*/ 1911350 h 2997200"/>
                  <a:gd name="connsiteX0" fmla="*/ 0 w 3716926"/>
                  <a:gd name="connsiteY0" fmla="*/ 2185670 h 2997200"/>
                  <a:gd name="connsiteX1" fmla="*/ 1220429 w 3716926"/>
                  <a:gd name="connsiteY1" fmla="*/ 2997200 h 2997200"/>
                  <a:gd name="connsiteX2" fmla="*/ 3697014 w 3716926"/>
                  <a:gd name="connsiteY2" fmla="*/ 948532 h 2997200"/>
                  <a:gd name="connsiteX3" fmla="*/ 3716926 w 3716926"/>
                  <a:gd name="connsiteY3" fmla="*/ 0 h 2997200"/>
                  <a:gd name="connsiteX4" fmla="*/ 0 w 3716926"/>
                  <a:gd name="connsiteY4" fmla="*/ 2185670 h 2997200"/>
                  <a:gd name="connsiteX0" fmla="*/ 0 w 3716926"/>
                  <a:gd name="connsiteY0" fmla="*/ 2185670 h 2821940"/>
                  <a:gd name="connsiteX1" fmla="*/ 705790 w 3716926"/>
                  <a:gd name="connsiteY1" fmla="*/ 2821940 h 2821940"/>
                  <a:gd name="connsiteX2" fmla="*/ 3697014 w 3716926"/>
                  <a:gd name="connsiteY2" fmla="*/ 948532 h 2821940"/>
                  <a:gd name="connsiteX3" fmla="*/ 3716926 w 3716926"/>
                  <a:gd name="connsiteY3" fmla="*/ 0 h 2821940"/>
                  <a:gd name="connsiteX4" fmla="*/ 0 w 3716926"/>
                  <a:gd name="connsiteY4" fmla="*/ 2185670 h 2821940"/>
                  <a:gd name="connsiteX0" fmla="*/ 0 w 3716926"/>
                  <a:gd name="connsiteY0" fmla="*/ 2185670 h 2837180"/>
                  <a:gd name="connsiteX1" fmla="*/ 602862 w 3716926"/>
                  <a:gd name="connsiteY1" fmla="*/ 2837180 h 2837180"/>
                  <a:gd name="connsiteX2" fmla="*/ 3697014 w 3716926"/>
                  <a:gd name="connsiteY2" fmla="*/ 948532 h 2837180"/>
                  <a:gd name="connsiteX3" fmla="*/ 3716926 w 3716926"/>
                  <a:gd name="connsiteY3" fmla="*/ 0 h 2837180"/>
                  <a:gd name="connsiteX4" fmla="*/ 0 w 3716926"/>
                  <a:gd name="connsiteY4" fmla="*/ 2185670 h 2837180"/>
                  <a:gd name="connsiteX0" fmla="*/ 0 w 3716926"/>
                  <a:gd name="connsiteY0" fmla="*/ 2185670 h 2875280"/>
                  <a:gd name="connsiteX1" fmla="*/ 529343 w 3716926"/>
                  <a:gd name="connsiteY1" fmla="*/ 2875280 h 2875280"/>
                  <a:gd name="connsiteX2" fmla="*/ 3697014 w 3716926"/>
                  <a:gd name="connsiteY2" fmla="*/ 948532 h 2875280"/>
                  <a:gd name="connsiteX3" fmla="*/ 3716926 w 3716926"/>
                  <a:gd name="connsiteY3" fmla="*/ 0 h 2875280"/>
                  <a:gd name="connsiteX4" fmla="*/ 0 w 3716926"/>
                  <a:gd name="connsiteY4" fmla="*/ 2185670 h 2875280"/>
                  <a:gd name="connsiteX0" fmla="*/ 0 w 3836397"/>
                  <a:gd name="connsiteY0" fmla="*/ 2095182 h 2875280"/>
                  <a:gd name="connsiteX1" fmla="*/ 648814 w 3836397"/>
                  <a:gd name="connsiteY1" fmla="*/ 2875280 h 2875280"/>
                  <a:gd name="connsiteX2" fmla="*/ 3816485 w 3836397"/>
                  <a:gd name="connsiteY2" fmla="*/ 948532 h 2875280"/>
                  <a:gd name="connsiteX3" fmla="*/ 3836397 w 3836397"/>
                  <a:gd name="connsiteY3" fmla="*/ 0 h 2875280"/>
                  <a:gd name="connsiteX4" fmla="*/ 0 w 3836397"/>
                  <a:gd name="connsiteY4" fmla="*/ 2095182 h 2875280"/>
                  <a:gd name="connsiteX0" fmla="*/ 0 w 3836397"/>
                  <a:gd name="connsiteY0" fmla="*/ 2095182 h 2732405"/>
                  <a:gd name="connsiteX1" fmla="*/ 529345 w 3836397"/>
                  <a:gd name="connsiteY1" fmla="*/ 2732405 h 2732405"/>
                  <a:gd name="connsiteX2" fmla="*/ 3816485 w 3836397"/>
                  <a:gd name="connsiteY2" fmla="*/ 948532 h 2732405"/>
                  <a:gd name="connsiteX3" fmla="*/ 3836397 w 3836397"/>
                  <a:gd name="connsiteY3" fmla="*/ 0 h 2732405"/>
                  <a:gd name="connsiteX4" fmla="*/ 0 w 3836397"/>
                  <a:gd name="connsiteY4" fmla="*/ 2095182 h 2732405"/>
                  <a:gd name="connsiteX0" fmla="*/ 0 w 3836397"/>
                  <a:gd name="connsiteY0" fmla="*/ 2095182 h 2732405"/>
                  <a:gd name="connsiteX1" fmla="*/ 529345 w 3836397"/>
                  <a:gd name="connsiteY1" fmla="*/ 2732405 h 2732405"/>
                  <a:gd name="connsiteX2" fmla="*/ 3808315 w 3836397"/>
                  <a:gd name="connsiteY2" fmla="*/ 1121860 h 2732405"/>
                  <a:gd name="connsiteX3" fmla="*/ 3836397 w 3836397"/>
                  <a:gd name="connsiteY3" fmla="*/ 0 h 2732405"/>
                  <a:gd name="connsiteX4" fmla="*/ 0 w 3836397"/>
                  <a:gd name="connsiteY4" fmla="*/ 2095182 h 273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36397" h="2732405">
                    <a:moveTo>
                      <a:pt x="0" y="2095182"/>
                    </a:moveTo>
                    <a:lnTo>
                      <a:pt x="529345" y="2732405"/>
                    </a:lnTo>
                    <a:cubicBezTo>
                      <a:pt x="1625058" y="2137781"/>
                      <a:pt x="2712602" y="1716484"/>
                      <a:pt x="3808315" y="1121860"/>
                    </a:cubicBezTo>
                    <a:cubicBezTo>
                      <a:pt x="3810868" y="818383"/>
                      <a:pt x="3833844" y="303477"/>
                      <a:pt x="3836397" y="0"/>
                    </a:cubicBezTo>
                    <a:lnTo>
                      <a:pt x="0" y="2095182"/>
                    </a:lnTo>
                    <a:close/>
                  </a:path>
                </a:pathLst>
              </a:custGeom>
              <a:gradFill>
                <a:gsLst>
                  <a:gs pos="8000">
                    <a:srgbClr val="FFFFFF">
                      <a:alpha val="0"/>
                      <a:lumMod val="69000"/>
                    </a:srgbClr>
                  </a:gs>
                  <a:gs pos="100000">
                    <a:srgbClr val="FBB034">
                      <a:alpha val="60000"/>
                      <a:lumMod val="96000"/>
                    </a:srgbClr>
                  </a:gs>
                </a:gsLst>
                <a:lin ang="0" scaled="1"/>
              </a:gradFill>
              <a:ln w="317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55">
                <a:extLst>
                  <a:ext uri="{FF2B5EF4-FFF2-40B4-BE49-F238E27FC236}">
                    <a16:creationId xmlns:a16="http://schemas.microsoft.com/office/drawing/2014/main" id="{BB623C1D-3D12-6055-7B81-BA36E5E5BD4C}"/>
                  </a:ext>
                </a:extLst>
              </p:cNvPr>
              <p:cNvSpPr/>
              <p:nvPr/>
            </p:nvSpPr>
            <p:spPr>
              <a:xfrm>
                <a:off x="6653195" y="2461934"/>
                <a:ext cx="1371425" cy="1667931"/>
              </a:xfrm>
              <a:custGeom>
                <a:avLst/>
                <a:gdLst>
                  <a:gd name="connsiteX0" fmla="*/ 0 w 2495550"/>
                  <a:gd name="connsiteY0" fmla="*/ 1756833 h 2237316"/>
                  <a:gd name="connsiteX1" fmla="*/ 0 w 2495550"/>
                  <a:gd name="connsiteY1" fmla="*/ 2237316 h 2237316"/>
                  <a:gd name="connsiteX2" fmla="*/ 2495550 w 2495550"/>
                  <a:gd name="connsiteY2" fmla="*/ 1284816 h 2237316"/>
                  <a:gd name="connsiteX3" fmla="*/ 2495550 w 2495550"/>
                  <a:gd name="connsiteY3" fmla="*/ 0 h 2237316"/>
                  <a:gd name="connsiteX4" fmla="*/ 0 w 2495550"/>
                  <a:gd name="connsiteY4" fmla="*/ 1756833 h 2237316"/>
                  <a:gd name="connsiteX0" fmla="*/ 0 w 2495550"/>
                  <a:gd name="connsiteY0" fmla="*/ 1879159 h 2359642"/>
                  <a:gd name="connsiteX1" fmla="*/ 0 w 2495550"/>
                  <a:gd name="connsiteY1" fmla="*/ 2359642 h 2359642"/>
                  <a:gd name="connsiteX2" fmla="*/ 2495550 w 2495550"/>
                  <a:gd name="connsiteY2" fmla="*/ 1407142 h 2359642"/>
                  <a:gd name="connsiteX3" fmla="*/ 2495550 w 2495550"/>
                  <a:gd name="connsiteY3" fmla="*/ 0 h 2359642"/>
                  <a:gd name="connsiteX4" fmla="*/ 0 w 2495550"/>
                  <a:gd name="connsiteY4" fmla="*/ 1879159 h 2359642"/>
                  <a:gd name="connsiteX0" fmla="*/ 0 w 2495550"/>
                  <a:gd name="connsiteY0" fmla="*/ 1879159 h 2359642"/>
                  <a:gd name="connsiteX1" fmla="*/ 0 w 2495550"/>
                  <a:gd name="connsiteY1" fmla="*/ 2359642 h 2359642"/>
                  <a:gd name="connsiteX2" fmla="*/ 2495550 w 2495550"/>
                  <a:gd name="connsiteY2" fmla="*/ 1299643 h 2359642"/>
                  <a:gd name="connsiteX3" fmla="*/ 2495550 w 2495550"/>
                  <a:gd name="connsiteY3" fmla="*/ 0 h 2359642"/>
                  <a:gd name="connsiteX4" fmla="*/ 0 w 2495550"/>
                  <a:gd name="connsiteY4" fmla="*/ 1879159 h 2359642"/>
                  <a:gd name="connsiteX0" fmla="*/ 0 w 2502011"/>
                  <a:gd name="connsiteY0" fmla="*/ 1879159 h 2359642"/>
                  <a:gd name="connsiteX1" fmla="*/ 0 w 2502011"/>
                  <a:gd name="connsiteY1" fmla="*/ 2359642 h 2359642"/>
                  <a:gd name="connsiteX2" fmla="*/ 2502011 w 2502011"/>
                  <a:gd name="connsiteY2" fmla="*/ 1358953 h 2359642"/>
                  <a:gd name="connsiteX3" fmla="*/ 2495550 w 2502011"/>
                  <a:gd name="connsiteY3" fmla="*/ 0 h 2359642"/>
                  <a:gd name="connsiteX4" fmla="*/ 0 w 2502011"/>
                  <a:gd name="connsiteY4" fmla="*/ 1879159 h 2359642"/>
                  <a:gd name="connsiteX0" fmla="*/ 0 w 2508757"/>
                  <a:gd name="connsiteY0" fmla="*/ 1945882 h 2426365"/>
                  <a:gd name="connsiteX1" fmla="*/ 0 w 2508757"/>
                  <a:gd name="connsiteY1" fmla="*/ 2426365 h 2426365"/>
                  <a:gd name="connsiteX2" fmla="*/ 2502011 w 2508757"/>
                  <a:gd name="connsiteY2" fmla="*/ 1425676 h 2426365"/>
                  <a:gd name="connsiteX3" fmla="*/ 2508472 w 2508757"/>
                  <a:gd name="connsiteY3" fmla="*/ 0 h 2426365"/>
                  <a:gd name="connsiteX4" fmla="*/ 0 w 2508757"/>
                  <a:gd name="connsiteY4" fmla="*/ 1945882 h 2426365"/>
                  <a:gd name="connsiteX0" fmla="*/ 0 w 2787891"/>
                  <a:gd name="connsiteY0" fmla="*/ 1883607 h 2426365"/>
                  <a:gd name="connsiteX1" fmla="*/ 279134 w 2787891"/>
                  <a:gd name="connsiteY1" fmla="*/ 2426365 h 2426365"/>
                  <a:gd name="connsiteX2" fmla="*/ 2781145 w 2787891"/>
                  <a:gd name="connsiteY2" fmla="*/ 1425676 h 2426365"/>
                  <a:gd name="connsiteX3" fmla="*/ 2787606 w 2787891"/>
                  <a:gd name="connsiteY3" fmla="*/ 0 h 2426365"/>
                  <a:gd name="connsiteX4" fmla="*/ 0 w 2787891"/>
                  <a:gd name="connsiteY4" fmla="*/ 1883607 h 2426365"/>
                  <a:gd name="connsiteX0" fmla="*/ 31015 w 2818906"/>
                  <a:gd name="connsiteY0" fmla="*/ 1883607 h 2550915"/>
                  <a:gd name="connsiteX1" fmla="*/ 0 w 2818906"/>
                  <a:gd name="connsiteY1" fmla="*/ 2550915 h 2550915"/>
                  <a:gd name="connsiteX2" fmla="*/ 2812160 w 2818906"/>
                  <a:gd name="connsiteY2" fmla="*/ 1425676 h 2550915"/>
                  <a:gd name="connsiteX3" fmla="*/ 2818621 w 2818906"/>
                  <a:gd name="connsiteY3" fmla="*/ 0 h 2550915"/>
                  <a:gd name="connsiteX4" fmla="*/ 31015 w 2818906"/>
                  <a:gd name="connsiteY4" fmla="*/ 1883607 h 2550915"/>
                  <a:gd name="connsiteX0" fmla="*/ 37503 w 2825394"/>
                  <a:gd name="connsiteY0" fmla="*/ 1883607 h 2550915"/>
                  <a:gd name="connsiteX1" fmla="*/ 0 w 2825394"/>
                  <a:gd name="connsiteY1" fmla="*/ 2510327 h 2550915"/>
                  <a:gd name="connsiteX2" fmla="*/ 6488 w 2825394"/>
                  <a:gd name="connsiteY2" fmla="*/ 2550915 h 2550915"/>
                  <a:gd name="connsiteX3" fmla="*/ 2818648 w 2825394"/>
                  <a:gd name="connsiteY3" fmla="*/ 1425676 h 2550915"/>
                  <a:gd name="connsiteX4" fmla="*/ 2825109 w 2825394"/>
                  <a:gd name="connsiteY4" fmla="*/ 0 h 2550915"/>
                  <a:gd name="connsiteX5" fmla="*/ 37503 w 2825394"/>
                  <a:gd name="connsiteY5" fmla="*/ 1883607 h 2550915"/>
                  <a:gd name="connsiteX0" fmla="*/ 0 w 2942966"/>
                  <a:gd name="connsiteY0" fmla="*/ 1811325 h 2550915"/>
                  <a:gd name="connsiteX1" fmla="*/ 117572 w 2942966"/>
                  <a:gd name="connsiteY1" fmla="*/ 2510327 h 2550915"/>
                  <a:gd name="connsiteX2" fmla="*/ 124060 w 2942966"/>
                  <a:gd name="connsiteY2" fmla="*/ 2550915 h 2550915"/>
                  <a:gd name="connsiteX3" fmla="*/ 2936220 w 2942966"/>
                  <a:gd name="connsiteY3" fmla="*/ 1425676 h 2550915"/>
                  <a:gd name="connsiteX4" fmla="*/ 2942681 w 2942966"/>
                  <a:gd name="connsiteY4" fmla="*/ 0 h 2550915"/>
                  <a:gd name="connsiteX5" fmla="*/ 0 w 2942966"/>
                  <a:gd name="connsiteY5" fmla="*/ 1811325 h 2550915"/>
                  <a:gd name="connsiteX0" fmla="*/ 186089 w 3129055"/>
                  <a:gd name="connsiteY0" fmla="*/ 1811325 h 2510327"/>
                  <a:gd name="connsiteX1" fmla="*/ 303661 w 3129055"/>
                  <a:gd name="connsiteY1" fmla="*/ 2510327 h 2510327"/>
                  <a:gd name="connsiteX2" fmla="*/ 0 w 3129055"/>
                  <a:gd name="connsiteY2" fmla="*/ 2489753 h 2510327"/>
                  <a:gd name="connsiteX3" fmla="*/ 3122309 w 3129055"/>
                  <a:gd name="connsiteY3" fmla="*/ 1425676 h 2510327"/>
                  <a:gd name="connsiteX4" fmla="*/ 3128770 w 3129055"/>
                  <a:gd name="connsiteY4" fmla="*/ 0 h 2510327"/>
                  <a:gd name="connsiteX5" fmla="*/ 186089 w 3129055"/>
                  <a:gd name="connsiteY5" fmla="*/ 1811325 h 2510327"/>
                  <a:gd name="connsiteX0" fmla="*/ 186089 w 3129055"/>
                  <a:gd name="connsiteY0" fmla="*/ 1811325 h 2489753"/>
                  <a:gd name="connsiteX1" fmla="*/ 0 w 3129055"/>
                  <a:gd name="connsiteY1" fmla="*/ 2489753 h 2489753"/>
                  <a:gd name="connsiteX2" fmla="*/ 3122309 w 3129055"/>
                  <a:gd name="connsiteY2" fmla="*/ 1425676 h 2489753"/>
                  <a:gd name="connsiteX3" fmla="*/ 3128770 w 3129055"/>
                  <a:gd name="connsiteY3" fmla="*/ 0 h 2489753"/>
                  <a:gd name="connsiteX4" fmla="*/ 186089 w 3129055"/>
                  <a:gd name="connsiteY4" fmla="*/ 1811325 h 2489753"/>
                  <a:gd name="connsiteX0" fmla="*/ 60092 w 3129055"/>
                  <a:gd name="connsiteY0" fmla="*/ 1878048 h 2489753"/>
                  <a:gd name="connsiteX1" fmla="*/ 0 w 3129055"/>
                  <a:gd name="connsiteY1" fmla="*/ 2489753 h 2489753"/>
                  <a:gd name="connsiteX2" fmla="*/ 3122309 w 3129055"/>
                  <a:gd name="connsiteY2" fmla="*/ 1425676 h 2489753"/>
                  <a:gd name="connsiteX3" fmla="*/ 3128770 w 3129055"/>
                  <a:gd name="connsiteY3" fmla="*/ 0 h 2489753"/>
                  <a:gd name="connsiteX4" fmla="*/ 60092 w 3129055"/>
                  <a:gd name="connsiteY4" fmla="*/ 1878048 h 2489753"/>
                  <a:gd name="connsiteX0" fmla="*/ 60092 w 3129216"/>
                  <a:gd name="connsiteY0" fmla="*/ 1878048 h 2489753"/>
                  <a:gd name="connsiteX1" fmla="*/ 0 w 3129216"/>
                  <a:gd name="connsiteY1" fmla="*/ 2489753 h 2489753"/>
                  <a:gd name="connsiteX2" fmla="*/ 3126617 w 3129216"/>
                  <a:gd name="connsiteY2" fmla="*/ 1672362 h 2489753"/>
                  <a:gd name="connsiteX3" fmla="*/ 3128770 w 3129216"/>
                  <a:gd name="connsiteY3" fmla="*/ 0 h 2489753"/>
                  <a:gd name="connsiteX4" fmla="*/ 60092 w 3129216"/>
                  <a:gd name="connsiteY4" fmla="*/ 1878048 h 2489753"/>
                  <a:gd name="connsiteX0" fmla="*/ 60092 w 3129216"/>
                  <a:gd name="connsiteY0" fmla="*/ 1878048 h 2489753"/>
                  <a:gd name="connsiteX1" fmla="*/ 0 w 3129216"/>
                  <a:gd name="connsiteY1" fmla="*/ 2489753 h 2489753"/>
                  <a:gd name="connsiteX2" fmla="*/ 3126617 w 3129216"/>
                  <a:gd name="connsiteY2" fmla="*/ 1606011 h 2489753"/>
                  <a:gd name="connsiteX3" fmla="*/ 3128770 w 3129216"/>
                  <a:gd name="connsiteY3" fmla="*/ 0 h 2489753"/>
                  <a:gd name="connsiteX4" fmla="*/ 60092 w 3129216"/>
                  <a:gd name="connsiteY4" fmla="*/ 1878048 h 2489753"/>
                  <a:gd name="connsiteX0" fmla="*/ 60092 w 3129216"/>
                  <a:gd name="connsiteY0" fmla="*/ 1878048 h 2489753"/>
                  <a:gd name="connsiteX1" fmla="*/ 0 w 3129216"/>
                  <a:gd name="connsiteY1" fmla="*/ 2489753 h 2489753"/>
                  <a:gd name="connsiteX2" fmla="*/ 3126617 w 3129216"/>
                  <a:gd name="connsiteY2" fmla="*/ 1606011 h 2489753"/>
                  <a:gd name="connsiteX3" fmla="*/ 3128770 w 3129216"/>
                  <a:gd name="connsiteY3" fmla="*/ 0 h 2489753"/>
                  <a:gd name="connsiteX4" fmla="*/ 60092 w 3129216"/>
                  <a:gd name="connsiteY4" fmla="*/ 1878048 h 2489753"/>
                  <a:gd name="connsiteX0" fmla="*/ 60092 w 3128926"/>
                  <a:gd name="connsiteY0" fmla="*/ 1878048 h 2489753"/>
                  <a:gd name="connsiteX1" fmla="*/ 0 w 3128926"/>
                  <a:gd name="connsiteY1" fmla="*/ 2489753 h 2489753"/>
                  <a:gd name="connsiteX2" fmla="*/ 3112342 w 3128926"/>
                  <a:gd name="connsiteY2" fmla="*/ 1577575 h 2489753"/>
                  <a:gd name="connsiteX3" fmla="*/ 3128770 w 3128926"/>
                  <a:gd name="connsiteY3" fmla="*/ 0 h 2489753"/>
                  <a:gd name="connsiteX4" fmla="*/ 60092 w 3128926"/>
                  <a:gd name="connsiteY4" fmla="*/ 1878048 h 2489753"/>
                  <a:gd name="connsiteX0" fmla="*/ 60092 w 3128926"/>
                  <a:gd name="connsiteY0" fmla="*/ 1878048 h 2489753"/>
                  <a:gd name="connsiteX1" fmla="*/ 0 w 3128926"/>
                  <a:gd name="connsiteY1" fmla="*/ 2489753 h 2489753"/>
                  <a:gd name="connsiteX2" fmla="*/ 3112342 w 3128926"/>
                  <a:gd name="connsiteY2" fmla="*/ 1577575 h 2489753"/>
                  <a:gd name="connsiteX3" fmla="*/ 3128770 w 3128926"/>
                  <a:gd name="connsiteY3" fmla="*/ 0 h 2489753"/>
                  <a:gd name="connsiteX4" fmla="*/ 60092 w 3128926"/>
                  <a:gd name="connsiteY4" fmla="*/ 1878048 h 2489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28926" h="2489753">
                    <a:moveTo>
                      <a:pt x="60092" y="1878048"/>
                    </a:moveTo>
                    <a:lnTo>
                      <a:pt x="0" y="2489753"/>
                    </a:lnTo>
                    <a:cubicBezTo>
                      <a:pt x="1040770" y="2135061"/>
                      <a:pt x="1900268" y="1932267"/>
                      <a:pt x="3112342" y="1577575"/>
                    </a:cubicBezTo>
                    <a:cubicBezTo>
                      <a:pt x="3110188" y="1124591"/>
                      <a:pt x="3130924" y="452984"/>
                      <a:pt x="3128770" y="0"/>
                    </a:cubicBezTo>
                    <a:lnTo>
                      <a:pt x="60092" y="1878048"/>
                    </a:lnTo>
                    <a:close/>
                  </a:path>
                </a:pathLst>
              </a:custGeom>
              <a:gradFill>
                <a:gsLst>
                  <a:gs pos="0">
                    <a:srgbClr val="FFFFFF">
                      <a:alpha val="0"/>
                      <a:lumMod val="53000"/>
                    </a:srgbClr>
                  </a:gs>
                  <a:gs pos="100000">
                    <a:srgbClr val="F05587">
                      <a:alpha val="80000"/>
                    </a:srgbClr>
                  </a:gs>
                </a:gsLst>
                <a:lin ang="0" scaled="1"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71" name="Picture 13" descr="A hand holding a cup&#10;&#10;Description automatically generated">
            <a:extLst>
              <a:ext uri="{FF2B5EF4-FFF2-40B4-BE49-F238E27FC236}">
                <a16:creationId xmlns:a16="http://schemas.microsoft.com/office/drawing/2014/main" id="{F0C04A5C-F412-2F2B-702A-183DD9349B9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7" r="3073"/>
          <a:stretch/>
        </p:blipFill>
        <p:spPr>
          <a:xfrm>
            <a:off x="867384" y="2677557"/>
            <a:ext cx="4869083" cy="2828549"/>
          </a:xfrm>
          <a:prstGeom prst="rect">
            <a:avLst/>
          </a:prstGeom>
        </p:spPr>
      </p:pic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D47BBC64-D7AB-55BA-36A0-BFD602C98FD4}"/>
              </a:ext>
            </a:extLst>
          </p:cNvPr>
          <p:cNvSpPr txBox="1">
            <a:spLocks/>
          </p:cNvSpPr>
          <p:nvPr/>
        </p:nvSpPr>
        <p:spPr>
          <a:xfrm>
            <a:off x="1095840" y="5674808"/>
            <a:ext cx="10665477" cy="1407494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100"/>
              </a:spcBef>
              <a:buClr>
                <a:srgbClr val="F26334"/>
              </a:buClr>
              <a:defRPr/>
            </a:pPr>
            <a:r>
              <a:rPr lang="en-US" sz="2400" kern="0" dirty="0">
                <a:solidFill>
                  <a:schemeClr val="tx2"/>
                </a:solidFill>
                <a:latin typeface="+mj-lt"/>
              </a:rPr>
              <a:t>One product. One experience. Every channel. Every Country</a:t>
            </a:r>
          </a:p>
        </p:txBody>
      </p:sp>
      <p:grpSp>
        <p:nvGrpSpPr>
          <p:cNvPr id="4" name="Grafik 15">
            <a:extLst>
              <a:ext uri="{FF2B5EF4-FFF2-40B4-BE49-F238E27FC236}">
                <a16:creationId xmlns:a16="http://schemas.microsoft.com/office/drawing/2014/main" id="{02B9F281-89A1-5E53-D018-D7DFC7AE9DF0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5" name="Grafik 15">
              <a:extLst>
                <a:ext uri="{FF2B5EF4-FFF2-40B4-BE49-F238E27FC236}">
                  <a16:creationId xmlns:a16="http://schemas.microsoft.com/office/drawing/2014/main" id="{F71FE631-ECA5-3F39-9A35-E4D5F0F85200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6" name="Freihandform 37">
                <a:extLst>
                  <a:ext uri="{FF2B5EF4-FFF2-40B4-BE49-F238E27FC236}">
                    <a16:creationId xmlns:a16="http://schemas.microsoft.com/office/drawing/2014/main" id="{3C171764-61CA-F1EF-509C-5EF6F9650398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7" name="Freihandform 38">
                <a:extLst>
                  <a:ext uri="{FF2B5EF4-FFF2-40B4-BE49-F238E27FC236}">
                    <a16:creationId xmlns:a16="http://schemas.microsoft.com/office/drawing/2014/main" id="{7F656A4B-ED82-EC2C-6AEE-AED463291F66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" name="Freihandform 39">
                <a:extLst>
                  <a:ext uri="{FF2B5EF4-FFF2-40B4-BE49-F238E27FC236}">
                    <a16:creationId xmlns:a16="http://schemas.microsoft.com/office/drawing/2014/main" id="{559A0351-1216-EC42-85C5-0EF1621D1C87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40">
                <a:extLst>
                  <a:ext uri="{FF2B5EF4-FFF2-40B4-BE49-F238E27FC236}">
                    <a16:creationId xmlns:a16="http://schemas.microsoft.com/office/drawing/2014/main" id="{FED8837C-658A-ACD8-3450-6194A8A7A0F8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0" name="Freihandform 41">
                <a:extLst>
                  <a:ext uri="{FF2B5EF4-FFF2-40B4-BE49-F238E27FC236}">
                    <a16:creationId xmlns:a16="http://schemas.microsoft.com/office/drawing/2014/main" id="{FD0500EE-248B-6CAC-1E93-7064AAC7482C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" name="Grafik 15">
              <a:extLst>
                <a:ext uri="{FF2B5EF4-FFF2-40B4-BE49-F238E27FC236}">
                  <a16:creationId xmlns:a16="http://schemas.microsoft.com/office/drawing/2014/main" id="{32E84723-F082-88A4-0022-F244B3D7E5A7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4" name="Freihandform 35">
                <a:extLst>
                  <a:ext uri="{FF2B5EF4-FFF2-40B4-BE49-F238E27FC236}">
                    <a16:creationId xmlns:a16="http://schemas.microsoft.com/office/drawing/2014/main" id="{CE25E2B2-2007-C121-5484-4514C2214488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5" name="Freihandform 36">
                <a:extLst>
                  <a:ext uri="{FF2B5EF4-FFF2-40B4-BE49-F238E27FC236}">
                    <a16:creationId xmlns:a16="http://schemas.microsoft.com/office/drawing/2014/main" id="{32A1C6CC-6CA5-F495-DB99-6DEFD0BFF9D0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" name="Grafik 15">
              <a:extLst>
                <a:ext uri="{FF2B5EF4-FFF2-40B4-BE49-F238E27FC236}">
                  <a16:creationId xmlns:a16="http://schemas.microsoft.com/office/drawing/2014/main" id="{0C53CCC2-5E02-B163-74F7-A77304E6EB4D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8" name="Freihandform 31">
                <a:extLst>
                  <a:ext uri="{FF2B5EF4-FFF2-40B4-BE49-F238E27FC236}">
                    <a16:creationId xmlns:a16="http://schemas.microsoft.com/office/drawing/2014/main" id="{F9922A65-56AF-7389-2BAA-551850A91274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" name="Freihandform 32">
                <a:extLst>
                  <a:ext uri="{FF2B5EF4-FFF2-40B4-BE49-F238E27FC236}">
                    <a16:creationId xmlns:a16="http://schemas.microsoft.com/office/drawing/2014/main" id="{C31779BC-85B5-A272-EF88-FA8111D281CA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" name="Freihandform 33">
                <a:extLst>
                  <a:ext uri="{FF2B5EF4-FFF2-40B4-BE49-F238E27FC236}">
                    <a16:creationId xmlns:a16="http://schemas.microsoft.com/office/drawing/2014/main" id="{7DEC08CF-1477-7D4B-5C32-8923CB03327A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" name="Freihandform 34">
                <a:extLst>
                  <a:ext uri="{FF2B5EF4-FFF2-40B4-BE49-F238E27FC236}">
                    <a16:creationId xmlns:a16="http://schemas.microsoft.com/office/drawing/2014/main" id="{21ACAA28-2441-CA26-9822-2942D525D22B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>
            <a:extLst>
              <a:ext uri="{FF2B5EF4-FFF2-40B4-BE49-F238E27FC236}">
                <a16:creationId xmlns:a16="http://schemas.microsoft.com/office/drawing/2014/main" id="{63F3B693-935E-47EF-913E-CF536F4A0E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1159" y="404664"/>
            <a:ext cx="3024585" cy="2744529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969B2B99-8F1E-4A03-BC20-9D4D665774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89578" y="476672"/>
            <a:ext cx="1867062" cy="1546994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37F9481-7E10-4DF1-84C2-51BA7B181E4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2288" b="40596"/>
          <a:stretch/>
        </p:blipFill>
        <p:spPr>
          <a:xfrm>
            <a:off x="10295116" y="2564904"/>
            <a:ext cx="1802011" cy="364425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513810F8-3DD4-4AA0-AD42-25C74DC4FE8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9237" t="4229" r="9237" b="46164"/>
          <a:stretch/>
        </p:blipFill>
        <p:spPr>
          <a:xfrm>
            <a:off x="9318482" y="2512609"/>
            <a:ext cx="1790855" cy="3292655"/>
          </a:xfrm>
          <a:prstGeom prst="rect">
            <a:avLst/>
          </a:prstGeom>
        </p:spPr>
      </p:pic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63FB4099-D18A-44C1-80F0-7C89D6F2EE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592" imgH="591" progId="TCLayout.ActiveDocument.1">
                  <p:embed/>
                </p:oleObj>
              </mc:Choice>
              <mc:Fallback>
                <p:oleObj name="think-cell Folie" r:id="rId7" imgW="592" imgH="59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63FB4099-D18A-44C1-80F0-7C89D6F2EE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0" y="1716"/>
            <a:ext cx="3146612" cy="2813889"/>
          </a:xfrm>
          <a:prstGeom prst="rect">
            <a:avLst/>
          </a:prstGeom>
          <a:solidFill>
            <a:srgbClr val="E2F3FD"/>
          </a:solidFill>
        </p:spPr>
        <p:txBody>
          <a:bodyPr vert="horz" wrap="square" lIns="0" tIns="191135" rIns="0" bIns="180000" rtlCol="0">
            <a:spAutoFit/>
          </a:bodyPr>
          <a:lstStyle/>
          <a:p>
            <a:pPr marL="534035" marR="635635">
              <a:lnSpc>
                <a:spcPct val="100000"/>
              </a:lnSpc>
              <a:spcBef>
                <a:spcPts val="1505"/>
              </a:spcBef>
            </a:pPr>
            <a:endParaRPr lang="en-GB" sz="1600" spc="-5" dirty="0">
              <a:solidFill>
                <a:srgbClr val="545454"/>
              </a:solidFill>
              <a:latin typeface="Verdana"/>
              <a:cs typeface="Verdana"/>
            </a:endParaRPr>
          </a:p>
          <a:p>
            <a:pPr marL="534035" marR="635635">
              <a:lnSpc>
                <a:spcPct val="100000"/>
              </a:lnSpc>
              <a:spcBef>
                <a:spcPts val="1505"/>
              </a:spcBef>
            </a:pPr>
            <a:endParaRPr lang="en-GB" sz="1600" spc="-5" dirty="0">
              <a:solidFill>
                <a:srgbClr val="545454"/>
              </a:solidFill>
              <a:latin typeface="Verdana"/>
              <a:cs typeface="Verdana"/>
            </a:endParaRPr>
          </a:p>
          <a:p>
            <a:pPr marL="534035" marR="635635">
              <a:lnSpc>
                <a:spcPct val="100000"/>
              </a:lnSpc>
              <a:spcBef>
                <a:spcPts val="1505"/>
              </a:spcBef>
            </a:pPr>
            <a:endParaRPr lang="en-GB" sz="1600" spc="-5" dirty="0">
              <a:solidFill>
                <a:srgbClr val="545454"/>
              </a:solidFill>
              <a:latin typeface="Verdana"/>
              <a:cs typeface="Verdana"/>
            </a:endParaRPr>
          </a:p>
          <a:p>
            <a:pPr marL="534035" marR="635635">
              <a:lnSpc>
                <a:spcPct val="100000"/>
              </a:lnSpc>
              <a:spcBef>
                <a:spcPts val="1505"/>
              </a:spcBef>
            </a:pPr>
            <a:endParaRPr lang="en-GB" sz="1600" spc="-5" dirty="0">
              <a:solidFill>
                <a:srgbClr val="545454"/>
              </a:solidFill>
              <a:latin typeface="Verdana"/>
              <a:cs typeface="Verdana"/>
            </a:endParaRPr>
          </a:p>
          <a:p>
            <a:pPr marL="534035" marR="635635">
              <a:lnSpc>
                <a:spcPct val="100000"/>
              </a:lnSpc>
              <a:spcBef>
                <a:spcPts val="1505"/>
              </a:spcBef>
            </a:pPr>
            <a:endParaRPr lang="en-GB" sz="1600" spc="-5" dirty="0">
              <a:solidFill>
                <a:srgbClr val="545454"/>
              </a:solidFill>
              <a:latin typeface="Verdana"/>
              <a:cs typeface="Verdana"/>
            </a:endParaRPr>
          </a:p>
          <a:p>
            <a:pPr marL="534035" marR="635635">
              <a:lnSpc>
                <a:spcPct val="100000"/>
              </a:lnSpc>
              <a:spcBef>
                <a:spcPts val="1505"/>
              </a:spcBef>
            </a:pPr>
            <a:endParaRPr lang="en-GB" sz="1600" spc="-5" dirty="0">
              <a:solidFill>
                <a:srgbClr val="545454"/>
              </a:solidFill>
              <a:latin typeface="Verdana"/>
              <a:cs typeface="Verdana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408599" y="6455050"/>
            <a:ext cx="9547225" cy="0"/>
          </a:xfrm>
          <a:custGeom>
            <a:avLst/>
            <a:gdLst/>
            <a:ahLst/>
            <a:cxnLst/>
            <a:rect l="l" t="t" r="r" b="b"/>
            <a:pathLst>
              <a:path w="9547225">
                <a:moveTo>
                  <a:pt x="0" y="0"/>
                </a:moveTo>
                <a:lnTo>
                  <a:pt x="9547199" y="0"/>
                </a:lnTo>
              </a:path>
            </a:pathLst>
          </a:custGeom>
          <a:ln w="10160">
            <a:solidFill>
              <a:srgbClr val="003B7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8" name="object 6">
            <a:extLst>
              <a:ext uri="{FF2B5EF4-FFF2-40B4-BE49-F238E27FC236}">
                <a16:creationId xmlns:a16="http://schemas.microsoft.com/office/drawing/2014/main" id="{241A3B54-61D2-452B-90D3-95C7A6DB620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3016" y="399621"/>
            <a:ext cx="5522015" cy="6296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de-DE" sz="4000" spc="10" dirty="0"/>
              <a:t>METRO 2D </a:t>
            </a:r>
            <a:r>
              <a:rPr lang="en-US" sz="4000" spc="10" dirty="0"/>
              <a:t>Journey</a:t>
            </a:r>
            <a:endParaRPr lang="en-US" sz="4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F640E64-E11B-4966-AD79-7B0D1D5947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47076" y="2204864"/>
            <a:ext cx="1981372" cy="3741744"/>
          </a:xfrm>
          <a:prstGeom prst="rect">
            <a:avLst/>
          </a:prstGeom>
        </p:spPr>
      </p:pic>
      <p:pic>
        <p:nvPicPr>
          <p:cNvPr id="33" name="Image 4">
            <a:extLst>
              <a:ext uri="{FF2B5EF4-FFF2-40B4-BE49-F238E27FC236}">
                <a16:creationId xmlns:a16="http://schemas.microsoft.com/office/drawing/2014/main" id="{E310FCAA-D7C9-4BCA-B570-937072C400D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75693" y="3717354"/>
            <a:ext cx="1990725" cy="2638425"/>
          </a:xfrm>
          <a:prstGeom prst="rect">
            <a:avLst/>
          </a:prstGeom>
        </p:spPr>
      </p:pic>
      <p:pic>
        <p:nvPicPr>
          <p:cNvPr id="38" name="Image 17">
            <a:extLst>
              <a:ext uri="{FF2B5EF4-FFF2-40B4-BE49-F238E27FC236}">
                <a16:creationId xmlns:a16="http://schemas.microsoft.com/office/drawing/2014/main" id="{CD0E2153-250A-4921-857A-F7EFFC109EA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72752" y="2938168"/>
            <a:ext cx="1354878" cy="1380305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C8735765-F79E-411B-AC9C-85CC6E164C8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3445" y="3315180"/>
            <a:ext cx="4811649" cy="270584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49F83FB-8171-4B84-9A2C-5F4E68CF30F5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0124" t="1111" b="10867"/>
          <a:stretch/>
        </p:blipFill>
        <p:spPr>
          <a:xfrm>
            <a:off x="3852981" y="5268663"/>
            <a:ext cx="1573306" cy="1166347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88A5AFA1-1A2E-47A6-809A-095684B3FD0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414223" y="4481991"/>
            <a:ext cx="1394582" cy="687401"/>
          </a:xfrm>
          <a:prstGeom prst="rect">
            <a:avLst/>
          </a:prstGeom>
        </p:spPr>
      </p:pic>
      <p:sp>
        <p:nvSpPr>
          <p:cNvPr id="30" name="Textfeld 29">
            <a:extLst>
              <a:ext uri="{FF2B5EF4-FFF2-40B4-BE49-F238E27FC236}">
                <a16:creationId xmlns:a16="http://schemas.microsoft.com/office/drawing/2014/main" id="{839962B6-CF50-4CD8-AD93-6AFB8C07CD07}"/>
              </a:ext>
            </a:extLst>
          </p:cNvPr>
          <p:cNvSpPr txBox="1"/>
          <p:nvPr/>
        </p:nvSpPr>
        <p:spPr>
          <a:xfrm>
            <a:off x="5944488" y="4017258"/>
            <a:ext cx="43954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000" dirty="0"/>
              <a:t>+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ED974489-6529-4248-8CAB-F1DA513B288A}"/>
              </a:ext>
            </a:extLst>
          </p:cNvPr>
          <p:cNvSpPr txBox="1"/>
          <p:nvPr/>
        </p:nvSpPr>
        <p:spPr>
          <a:xfrm>
            <a:off x="396717" y="1205463"/>
            <a:ext cx="274695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spc="-5" dirty="0">
                <a:solidFill>
                  <a:schemeClr val="tx2"/>
                </a:solidFill>
                <a:latin typeface="Verdana"/>
                <a:cs typeface="Verdana"/>
              </a:rPr>
              <a:t>A journey from EAN to Data Matrix and QR with GS1 Digital Link and target group specific content</a:t>
            </a:r>
          </a:p>
          <a:p>
            <a:endParaRPr lang="de-DE" dirty="0"/>
          </a:p>
        </p:txBody>
      </p:sp>
      <p:pic>
        <p:nvPicPr>
          <p:cNvPr id="6" name="Grafik 5" descr="Ein Bild, das Essen, aus Holz, Gericht, Zwischenmahlzeit enthält.&#10;&#10;Automatisch generierte Beschreibung">
            <a:extLst>
              <a:ext uri="{FF2B5EF4-FFF2-40B4-BE49-F238E27FC236}">
                <a16:creationId xmlns:a16="http://schemas.microsoft.com/office/drawing/2014/main" id="{87D026FC-A0B7-9336-4429-E82632E0CE4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688" y="1362330"/>
            <a:ext cx="1333500" cy="904875"/>
          </a:xfrm>
          <a:prstGeom prst="rect">
            <a:avLst/>
          </a:prstGeom>
        </p:spPr>
      </p:pic>
      <p:pic>
        <p:nvPicPr>
          <p:cNvPr id="10" name="Grafik 9" descr="Ein Bild, das Essen, Nuss, Obst, Halde enthält.&#10;&#10;Automatisch generierte Beschreibung">
            <a:extLst>
              <a:ext uri="{FF2B5EF4-FFF2-40B4-BE49-F238E27FC236}">
                <a16:creationId xmlns:a16="http://schemas.microsoft.com/office/drawing/2014/main" id="{E25E7498-AFC0-E4CF-F542-513913983656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95" b="25531"/>
          <a:stretch/>
        </p:blipFill>
        <p:spPr>
          <a:xfrm>
            <a:off x="6253290" y="1362330"/>
            <a:ext cx="1354878" cy="904875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876A34A-CFFD-DBE9-6049-FEFE9D85F69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3775" y="1362330"/>
            <a:ext cx="1333500" cy="904875"/>
          </a:xfrm>
          <a:prstGeom prst="rect">
            <a:avLst/>
          </a:prstGeom>
        </p:spPr>
      </p:pic>
      <p:grpSp>
        <p:nvGrpSpPr>
          <p:cNvPr id="4" name="Grafik 15">
            <a:extLst>
              <a:ext uri="{FF2B5EF4-FFF2-40B4-BE49-F238E27FC236}">
                <a16:creationId xmlns:a16="http://schemas.microsoft.com/office/drawing/2014/main" id="{D752EA39-55AE-BEEA-6656-8EA84D6547CF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5" name="Grafik 15">
              <a:extLst>
                <a:ext uri="{FF2B5EF4-FFF2-40B4-BE49-F238E27FC236}">
                  <a16:creationId xmlns:a16="http://schemas.microsoft.com/office/drawing/2014/main" id="{89340403-C791-0C3D-557E-5A9E130DDAD5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2" name="Freihandform 37">
                <a:extLst>
                  <a:ext uri="{FF2B5EF4-FFF2-40B4-BE49-F238E27FC236}">
                    <a16:creationId xmlns:a16="http://schemas.microsoft.com/office/drawing/2014/main" id="{8EDFC94D-29E1-6B75-9B9C-59FB6BEA8DC9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" name="Freihandform 38">
                <a:extLst>
                  <a:ext uri="{FF2B5EF4-FFF2-40B4-BE49-F238E27FC236}">
                    <a16:creationId xmlns:a16="http://schemas.microsoft.com/office/drawing/2014/main" id="{2945663B-7D9F-8A24-0A79-E8AAC0969F9C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4" name="Freihandform 39">
                <a:extLst>
                  <a:ext uri="{FF2B5EF4-FFF2-40B4-BE49-F238E27FC236}">
                    <a16:creationId xmlns:a16="http://schemas.microsoft.com/office/drawing/2014/main" id="{AF71598F-333A-ECD3-37E3-293E52E53506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Freihandform 40">
                <a:extLst>
                  <a:ext uri="{FF2B5EF4-FFF2-40B4-BE49-F238E27FC236}">
                    <a16:creationId xmlns:a16="http://schemas.microsoft.com/office/drawing/2014/main" id="{C943CCAE-D800-ABF5-7982-AEB5EB4ED031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Freihandform 41">
                <a:extLst>
                  <a:ext uri="{FF2B5EF4-FFF2-40B4-BE49-F238E27FC236}">
                    <a16:creationId xmlns:a16="http://schemas.microsoft.com/office/drawing/2014/main" id="{143BA70E-1A6F-9540-B5FA-A8FC79ABADF4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" name="Grafik 15">
              <a:extLst>
                <a:ext uri="{FF2B5EF4-FFF2-40B4-BE49-F238E27FC236}">
                  <a16:creationId xmlns:a16="http://schemas.microsoft.com/office/drawing/2014/main" id="{B6CB5A4F-4FB5-7499-E7FA-6FEA0291010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9" name="Freihandform 35">
                <a:extLst>
                  <a:ext uri="{FF2B5EF4-FFF2-40B4-BE49-F238E27FC236}">
                    <a16:creationId xmlns:a16="http://schemas.microsoft.com/office/drawing/2014/main" id="{A33A8B82-2F90-3F7E-05A2-8181CAB2AF35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1" name="Freihandform 36">
                <a:extLst>
                  <a:ext uri="{FF2B5EF4-FFF2-40B4-BE49-F238E27FC236}">
                    <a16:creationId xmlns:a16="http://schemas.microsoft.com/office/drawing/2014/main" id="{61FB75C7-7566-0A92-AA71-DE318C77262A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" name="Grafik 15">
              <a:extLst>
                <a:ext uri="{FF2B5EF4-FFF2-40B4-BE49-F238E27FC236}">
                  <a16:creationId xmlns:a16="http://schemas.microsoft.com/office/drawing/2014/main" id="{AC9C0C3E-6EA6-616D-A2B1-35CC7EF64ACC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9" name="Freihandform 31">
                <a:extLst>
                  <a:ext uri="{FF2B5EF4-FFF2-40B4-BE49-F238E27FC236}">
                    <a16:creationId xmlns:a16="http://schemas.microsoft.com/office/drawing/2014/main" id="{5CA6B951-A471-5650-67D0-E53C412E3404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" name="Freihandform 32">
                <a:extLst>
                  <a:ext uri="{FF2B5EF4-FFF2-40B4-BE49-F238E27FC236}">
                    <a16:creationId xmlns:a16="http://schemas.microsoft.com/office/drawing/2014/main" id="{D77E9FD1-DCA1-8447-2358-64B1FDB3A774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7" name="Freihandform 33">
                <a:extLst>
                  <a:ext uri="{FF2B5EF4-FFF2-40B4-BE49-F238E27FC236}">
                    <a16:creationId xmlns:a16="http://schemas.microsoft.com/office/drawing/2014/main" id="{85F6700E-DB5E-9FA9-EFFC-A42D1072A228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" name="Freihandform 34">
                <a:extLst>
                  <a:ext uri="{FF2B5EF4-FFF2-40B4-BE49-F238E27FC236}">
                    <a16:creationId xmlns:a16="http://schemas.microsoft.com/office/drawing/2014/main" id="{0B54BEE1-4AEE-CAD1-76E0-27E1E20F74F2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02988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3F840F-C7F5-4666-B99F-2466282268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3F840F-C7F5-4666-B99F-2466282268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870254D-FE13-459E-A7AD-0A3EC9485D76}"/>
              </a:ext>
            </a:extLst>
          </p:cNvPr>
          <p:cNvSpPr>
            <a:spLocks/>
          </p:cNvSpPr>
          <p:nvPr/>
        </p:nvSpPr>
        <p:spPr>
          <a:xfrm>
            <a:off x="0" y="0"/>
            <a:ext cx="12199256" cy="6858000"/>
          </a:xfrm>
          <a:custGeom>
            <a:avLst/>
            <a:gdLst>
              <a:gd name="connsiteX0" fmla="*/ 2155 w 4711700"/>
              <a:gd name="connsiteY0" fmla="*/ 2155 h 4711700"/>
              <a:gd name="connsiteX1" fmla="*/ 4713855 w 4711700"/>
              <a:gd name="connsiteY1" fmla="*/ 2155 h 4711700"/>
              <a:gd name="connsiteX2" fmla="*/ 4713855 w 4711700"/>
              <a:gd name="connsiteY2" fmla="*/ 4713855 h 4711700"/>
              <a:gd name="connsiteX3" fmla="*/ 2155 w 4711700"/>
              <a:gd name="connsiteY3" fmla="*/ 4713855 h 471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1700" h="4711700">
                <a:moveTo>
                  <a:pt x="2155" y="2155"/>
                </a:moveTo>
                <a:lnTo>
                  <a:pt x="4713855" y="2155"/>
                </a:lnTo>
                <a:lnTo>
                  <a:pt x="4713855" y="4713855"/>
                </a:lnTo>
                <a:lnTo>
                  <a:pt x="2155" y="471385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60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7A26CA13-5724-4096-9188-C924F21320E1}"/>
              </a:ext>
            </a:extLst>
          </p:cNvPr>
          <p:cNvSpPr>
            <a:spLocks/>
          </p:cNvSpPr>
          <p:nvPr/>
        </p:nvSpPr>
        <p:spPr>
          <a:xfrm>
            <a:off x="-7256" y="34454"/>
            <a:ext cx="12199256" cy="6858000"/>
          </a:xfrm>
          <a:custGeom>
            <a:avLst/>
            <a:gdLst>
              <a:gd name="connsiteX0" fmla="*/ 2155 w 4711700"/>
              <a:gd name="connsiteY0" fmla="*/ 2155 h 4711700"/>
              <a:gd name="connsiteX1" fmla="*/ 4713855 w 4711700"/>
              <a:gd name="connsiteY1" fmla="*/ 2155 h 4711700"/>
              <a:gd name="connsiteX2" fmla="*/ 4713855 w 4711700"/>
              <a:gd name="connsiteY2" fmla="*/ 4713855 h 4711700"/>
              <a:gd name="connsiteX3" fmla="*/ 2155 w 4711700"/>
              <a:gd name="connsiteY3" fmla="*/ 4713855 h 471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11700" h="4711700">
                <a:moveTo>
                  <a:pt x="2155" y="2155"/>
                </a:moveTo>
                <a:lnTo>
                  <a:pt x="4713855" y="2155"/>
                </a:lnTo>
                <a:lnTo>
                  <a:pt x="4713855" y="4713855"/>
                </a:lnTo>
                <a:lnTo>
                  <a:pt x="2155" y="4713855"/>
                </a:lnTo>
                <a:close/>
              </a:path>
            </a:pathLst>
          </a:custGeom>
          <a:solidFill>
            <a:schemeClr val="tx2">
              <a:alpha val="84000"/>
            </a:schemeClr>
          </a:solidFill>
          <a:ln w="9525">
            <a:noFill/>
            <a:round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143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600" dirty="0">
              <a:solidFill>
                <a:srgbClr val="FFFFFF"/>
              </a:solidFill>
              <a:latin typeface="Trade Gothic Inline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0F7F5CF-6468-4338-8A06-58333192C630}"/>
              </a:ext>
            </a:extLst>
          </p:cNvPr>
          <p:cNvGrpSpPr/>
          <p:nvPr/>
        </p:nvGrpSpPr>
        <p:grpSpPr>
          <a:xfrm>
            <a:off x="2" y="1714651"/>
            <a:ext cx="12191999" cy="4252383"/>
            <a:chOff x="0" y="1450975"/>
            <a:chExt cx="9144000" cy="3189288"/>
          </a:xfrm>
          <a:solidFill>
            <a:schemeClr val="bg1"/>
          </a:solidFill>
        </p:grpSpPr>
        <p:sp>
          <p:nvSpPr>
            <p:cNvPr id="6" name="Freeform 118">
              <a:extLst>
                <a:ext uri="{FF2B5EF4-FFF2-40B4-BE49-F238E27FC236}">
                  <a16:creationId xmlns:a16="http://schemas.microsoft.com/office/drawing/2014/main" id="{41F3D0A0-3A43-4FAC-945F-66F10CACA5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68975" y="1450975"/>
              <a:ext cx="2320925" cy="2311400"/>
            </a:xfrm>
            <a:custGeom>
              <a:avLst/>
              <a:gdLst>
                <a:gd name="T0" fmla="*/ 515 w 898"/>
                <a:gd name="T1" fmla="*/ 894 h 894"/>
                <a:gd name="T2" fmla="*/ 360 w 898"/>
                <a:gd name="T3" fmla="*/ 894 h 894"/>
                <a:gd name="T4" fmla="*/ 284 w 898"/>
                <a:gd name="T5" fmla="*/ 817 h 894"/>
                <a:gd name="T6" fmla="*/ 387 w 898"/>
                <a:gd name="T7" fmla="*/ 531 h 894"/>
                <a:gd name="T8" fmla="*/ 474 w 898"/>
                <a:gd name="T9" fmla="*/ 469 h 894"/>
                <a:gd name="T10" fmla="*/ 563 w 898"/>
                <a:gd name="T11" fmla="*/ 370 h 894"/>
                <a:gd name="T12" fmla="*/ 452 w 898"/>
                <a:gd name="T13" fmla="*/ 284 h 894"/>
                <a:gd name="T14" fmla="*/ 310 w 898"/>
                <a:gd name="T15" fmla="*/ 388 h 894"/>
                <a:gd name="T16" fmla="*/ 303 w 898"/>
                <a:gd name="T17" fmla="*/ 417 h 894"/>
                <a:gd name="T18" fmla="*/ 276 w 898"/>
                <a:gd name="T19" fmla="*/ 450 h 894"/>
                <a:gd name="T20" fmla="*/ 236 w 898"/>
                <a:gd name="T21" fmla="*/ 460 h 894"/>
                <a:gd name="T22" fmla="*/ 49 w 898"/>
                <a:gd name="T23" fmla="*/ 460 h 894"/>
                <a:gd name="T24" fmla="*/ 0 w 898"/>
                <a:gd name="T25" fmla="*/ 385 h 894"/>
                <a:gd name="T26" fmla="*/ 0 w 898"/>
                <a:gd name="T27" fmla="*/ 383 h 894"/>
                <a:gd name="T28" fmla="*/ 106 w 898"/>
                <a:gd name="T29" fmla="*/ 134 h 894"/>
                <a:gd name="T30" fmla="*/ 450 w 898"/>
                <a:gd name="T31" fmla="*/ 0 h 894"/>
                <a:gd name="T32" fmla="*/ 758 w 898"/>
                <a:gd name="T33" fmla="*/ 86 h 894"/>
                <a:gd name="T34" fmla="*/ 898 w 898"/>
                <a:gd name="T35" fmla="*/ 359 h 894"/>
                <a:gd name="T36" fmla="*/ 728 w 898"/>
                <a:gd name="T37" fmla="*/ 626 h 894"/>
                <a:gd name="T38" fmla="*/ 592 w 898"/>
                <a:gd name="T39" fmla="*/ 817 h 894"/>
                <a:gd name="T40" fmla="*/ 515 w 898"/>
                <a:gd name="T41" fmla="*/ 894 h 894"/>
                <a:gd name="T42" fmla="*/ 452 w 898"/>
                <a:gd name="T43" fmla="*/ 250 h 894"/>
                <a:gd name="T44" fmla="*/ 598 w 898"/>
                <a:gd name="T45" fmla="*/ 370 h 894"/>
                <a:gd name="T46" fmla="*/ 492 w 898"/>
                <a:gd name="T47" fmla="*/ 498 h 894"/>
                <a:gd name="T48" fmla="*/ 412 w 898"/>
                <a:gd name="T49" fmla="*/ 555 h 894"/>
                <a:gd name="T50" fmla="*/ 318 w 898"/>
                <a:gd name="T51" fmla="*/ 817 h 894"/>
                <a:gd name="T52" fmla="*/ 360 w 898"/>
                <a:gd name="T53" fmla="*/ 860 h 894"/>
                <a:gd name="T54" fmla="*/ 515 w 898"/>
                <a:gd name="T55" fmla="*/ 860 h 894"/>
                <a:gd name="T56" fmla="*/ 558 w 898"/>
                <a:gd name="T57" fmla="*/ 817 h 894"/>
                <a:gd name="T58" fmla="*/ 709 w 898"/>
                <a:gd name="T59" fmla="*/ 598 h 894"/>
                <a:gd name="T60" fmla="*/ 864 w 898"/>
                <a:gd name="T61" fmla="*/ 359 h 894"/>
                <a:gd name="T62" fmla="*/ 450 w 898"/>
                <a:gd name="T63" fmla="*/ 34 h 894"/>
                <a:gd name="T64" fmla="*/ 34 w 898"/>
                <a:gd name="T65" fmla="*/ 386 h 894"/>
                <a:gd name="T66" fmla="*/ 49 w 898"/>
                <a:gd name="T67" fmla="*/ 426 h 894"/>
                <a:gd name="T68" fmla="*/ 236 w 898"/>
                <a:gd name="T69" fmla="*/ 426 h 894"/>
                <a:gd name="T70" fmla="*/ 277 w 898"/>
                <a:gd name="T71" fmla="*/ 382 h 894"/>
                <a:gd name="T72" fmla="*/ 277 w 898"/>
                <a:gd name="T73" fmla="*/ 380 h 894"/>
                <a:gd name="T74" fmla="*/ 452 w 898"/>
                <a:gd name="T75" fmla="*/ 250 h 8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98" h="894">
                  <a:moveTo>
                    <a:pt x="515" y="894"/>
                  </a:moveTo>
                  <a:cubicBezTo>
                    <a:pt x="360" y="894"/>
                    <a:pt x="360" y="894"/>
                    <a:pt x="360" y="894"/>
                  </a:cubicBezTo>
                  <a:cubicBezTo>
                    <a:pt x="292" y="894"/>
                    <a:pt x="284" y="850"/>
                    <a:pt x="284" y="817"/>
                  </a:cubicBezTo>
                  <a:cubicBezTo>
                    <a:pt x="284" y="688"/>
                    <a:pt x="313" y="608"/>
                    <a:pt x="387" y="531"/>
                  </a:cubicBezTo>
                  <a:cubicBezTo>
                    <a:pt x="413" y="505"/>
                    <a:pt x="444" y="487"/>
                    <a:pt x="474" y="469"/>
                  </a:cubicBezTo>
                  <a:cubicBezTo>
                    <a:pt x="522" y="440"/>
                    <a:pt x="563" y="415"/>
                    <a:pt x="563" y="370"/>
                  </a:cubicBezTo>
                  <a:cubicBezTo>
                    <a:pt x="563" y="322"/>
                    <a:pt x="514" y="284"/>
                    <a:pt x="452" y="284"/>
                  </a:cubicBezTo>
                  <a:cubicBezTo>
                    <a:pt x="362" y="284"/>
                    <a:pt x="320" y="349"/>
                    <a:pt x="310" y="388"/>
                  </a:cubicBezTo>
                  <a:cubicBezTo>
                    <a:pt x="308" y="396"/>
                    <a:pt x="307" y="402"/>
                    <a:pt x="303" y="417"/>
                  </a:cubicBezTo>
                  <a:cubicBezTo>
                    <a:pt x="297" y="435"/>
                    <a:pt x="276" y="450"/>
                    <a:pt x="276" y="450"/>
                  </a:cubicBezTo>
                  <a:cubicBezTo>
                    <a:pt x="266" y="456"/>
                    <a:pt x="253" y="460"/>
                    <a:pt x="236" y="460"/>
                  </a:cubicBezTo>
                  <a:cubicBezTo>
                    <a:pt x="49" y="460"/>
                    <a:pt x="49" y="460"/>
                    <a:pt x="49" y="460"/>
                  </a:cubicBezTo>
                  <a:cubicBezTo>
                    <a:pt x="0" y="460"/>
                    <a:pt x="0" y="420"/>
                    <a:pt x="0" y="385"/>
                  </a:cubicBezTo>
                  <a:cubicBezTo>
                    <a:pt x="0" y="383"/>
                    <a:pt x="0" y="383"/>
                    <a:pt x="0" y="383"/>
                  </a:cubicBezTo>
                  <a:cubicBezTo>
                    <a:pt x="6" y="328"/>
                    <a:pt x="27" y="222"/>
                    <a:pt x="106" y="134"/>
                  </a:cubicBezTo>
                  <a:cubicBezTo>
                    <a:pt x="187" y="45"/>
                    <a:pt x="302" y="0"/>
                    <a:pt x="450" y="0"/>
                  </a:cubicBezTo>
                  <a:cubicBezTo>
                    <a:pt x="569" y="0"/>
                    <a:pt x="679" y="31"/>
                    <a:pt x="758" y="86"/>
                  </a:cubicBezTo>
                  <a:cubicBezTo>
                    <a:pt x="849" y="150"/>
                    <a:pt x="898" y="244"/>
                    <a:pt x="898" y="359"/>
                  </a:cubicBezTo>
                  <a:cubicBezTo>
                    <a:pt x="898" y="506"/>
                    <a:pt x="788" y="584"/>
                    <a:pt x="728" y="626"/>
                  </a:cubicBezTo>
                  <a:cubicBezTo>
                    <a:pt x="664" y="670"/>
                    <a:pt x="592" y="720"/>
                    <a:pt x="592" y="817"/>
                  </a:cubicBezTo>
                  <a:cubicBezTo>
                    <a:pt x="592" y="873"/>
                    <a:pt x="571" y="894"/>
                    <a:pt x="515" y="894"/>
                  </a:cubicBezTo>
                  <a:close/>
                  <a:moveTo>
                    <a:pt x="452" y="250"/>
                  </a:moveTo>
                  <a:cubicBezTo>
                    <a:pt x="534" y="250"/>
                    <a:pt x="598" y="303"/>
                    <a:pt x="598" y="370"/>
                  </a:cubicBezTo>
                  <a:cubicBezTo>
                    <a:pt x="598" y="434"/>
                    <a:pt x="544" y="466"/>
                    <a:pt x="492" y="498"/>
                  </a:cubicBezTo>
                  <a:cubicBezTo>
                    <a:pt x="463" y="515"/>
                    <a:pt x="434" y="532"/>
                    <a:pt x="412" y="555"/>
                  </a:cubicBezTo>
                  <a:cubicBezTo>
                    <a:pt x="343" y="626"/>
                    <a:pt x="318" y="697"/>
                    <a:pt x="318" y="817"/>
                  </a:cubicBezTo>
                  <a:cubicBezTo>
                    <a:pt x="318" y="847"/>
                    <a:pt x="324" y="860"/>
                    <a:pt x="360" y="860"/>
                  </a:cubicBezTo>
                  <a:cubicBezTo>
                    <a:pt x="515" y="860"/>
                    <a:pt x="515" y="860"/>
                    <a:pt x="515" y="860"/>
                  </a:cubicBezTo>
                  <a:cubicBezTo>
                    <a:pt x="554" y="860"/>
                    <a:pt x="558" y="852"/>
                    <a:pt x="558" y="817"/>
                  </a:cubicBezTo>
                  <a:cubicBezTo>
                    <a:pt x="558" y="702"/>
                    <a:pt x="642" y="644"/>
                    <a:pt x="709" y="598"/>
                  </a:cubicBezTo>
                  <a:cubicBezTo>
                    <a:pt x="784" y="545"/>
                    <a:pt x="864" y="478"/>
                    <a:pt x="864" y="359"/>
                  </a:cubicBezTo>
                  <a:cubicBezTo>
                    <a:pt x="864" y="119"/>
                    <a:pt x="641" y="34"/>
                    <a:pt x="450" y="34"/>
                  </a:cubicBezTo>
                  <a:cubicBezTo>
                    <a:pt x="99" y="34"/>
                    <a:pt x="43" y="302"/>
                    <a:pt x="34" y="386"/>
                  </a:cubicBezTo>
                  <a:cubicBezTo>
                    <a:pt x="34" y="426"/>
                    <a:pt x="36" y="426"/>
                    <a:pt x="49" y="426"/>
                  </a:cubicBezTo>
                  <a:cubicBezTo>
                    <a:pt x="236" y="426"/>
                    <a:pt x="236" y="426"/>
                    <a:pt x="236" y="426"/>
                  </a:cubicBezTo>
                  <a:cubicBezTo>
                    <a:pt x="265" y="426"/>
                    <a:pt x="271" y="413"/>
                    <a:pt x="277" y="382"/>
                  </a:cubicBezTo>
                  <a:cubicBezTo>
                    <a:pt x="277" y="380"/>
                    <a:pt x="277" y="380"/>
                    <a:pt x="277" y="380"/>
                  </a:cubicBezTo>
                  <a:cubicBezTo>
                    <a:pt x="294" y="316"/>
                    <a:pt x="354" y="250"/>
                    <a:pt x="452" y="2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5" tIns="44807" rIns="89615" bIns="44807" numCol="1" anchor="t" anchorCtr="0" compatLnSpc="1">
              <a:prstTxWarp prst="textNoShape">
                <a:avLst/>
              </a:prstTxWarp>
            </a:bodyPr>
            <a:lstStyle/>
            <a:p>
              <a:pPr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4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Freeform 119">
              <a:extLst>
                <a:ext uri="{FF2B5EF4-FFF2-40B4-BE49-F238E27FC236}">
                  <a16:creationId xmlns:a16="http://schemas.microsoft.com/office/drawing/2014/main" id="{A41327D6-51FB-4265-AA8D-5AFAE307B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2688" y="3876675"/>
              <a:ext cx="6691312" cy="763588"/>
            </a:xfrm>
            <a:custGeom>
              <a:avLst/>
              <a:gdLst>
                <a:gd name="T0" fmla="*/ 2590 w 2590"/>
                <a:gd name="T1" fmla="*/ 295 h 295"/>
                <a:gd name="T2" fmla="*/ 1934 w 2590"/>
                <a:gd name="T3" fmla="*/ 295 h 295"/>
                <a:gd name="T4" fmla="*/ 1857 w 2590"/>
                <a:gd name="T5" fmla="*/ 218 h 295"/>
                <a:gd name="T6" fmla="*/ 1857 w 2590"/>
                <a:gd name="T7" fmla="*/ 71 h 295"/>
                <a:gd name="T8" fmla="*/ 1820 w 2590"/>
                <a:gd name="T9" fmla="*/ 34 h 295"/>
                <a:gd name="T10" fmla="*/ 1613 w 2590"/>
                <a:gd name="T11" fmla="*/ 34 h 295"/>
                <a:gd name="T12" fmla="*/ 1576 w 2590"/>
                <a:gd name="T13" fmla="*/ 71 h 295"/>
                <a:gd name="T14" fmla="*/ 1576 w 2590"/>
                <a:gd name="T15" fmla="*/ 218 h 295"/>
                <a:gd name="T16" fmla="*/ 1499 w 2590"/>
                <a:gd name="T17" fmla="*/ 295 h 295"/>
                <a:gd name="T18" fmla="*/ 0 w 2590"/>
                <a:gd name="T19" fmla="*/ 295 h 295"/>
                <a:gd name="T20" fmla="*/ 0 w 2590"/>
                <a:gd name="T21" fmla="*/ 261 h 295"/>
                <a:gd name="T22" fmla="*/ 1499 w 2590"/>
                <a:gd name="T23" fmla="*/ 261 h 295"/>
                <a:gd name="T24" fmla="*/ 1542 w 2590"/>
                <a:gd name="T25" fmla="*/ 218 h 295"/>
                <a:gd name="T26" fmla="*/ 1542 w 2590"/>
                <a:gd name="T27" fmla="*/ 71 h 295"/>
                <a:gd name="T28" fmla="*/ 1613 w 2590"/>
                <a:gd name="T29" fmla="*/ 0 h 295"/>
                <a:gd name="T30" fmla="*/ 1820 w 2590"/>
                <a:gd name="T31" fmla="*/ 0 h 295"/>
                <a:gd name="T32" fmla="*/ 1891 w 2590"/>
                <a:gd name="T33" fmla="*/ 71 h 295"/>
                <a:gd name="T34" fmla="*/ 1891 w 2590"/>
                <a:gd name="T35" fmla="*/ 218 h 295"/>
                <a:gd name="T36" fmla="*/ 1934 w 2590"/>
                <a:gd name="T37" fmla="*/ 261 h 295"/>
                <a:gd name="T38" fmla="*/ 2590 w 2590"/>
                <a:gd name="T39" fmla="*/ 261 h 295"/>
                <a:gd name="T40" fmla="*/ 2590 w 2590"/>
                <a:gd name="T41" fmla="*/ 295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90" h="295">
                  <a:moveTo>
                    <a:pt x="2590" y="295"/>
                  </a:moveTo>
                  <a:cubicBezTo>
                    <a:pt x="1934" y="295"/>
                    <a:pt x="1934" y="295"/>
                    <a:pt x="1934" y="295"/>
                  </a:cubicBezTo>
                  <a:cubicBezTo>
                    <a:pt x="1891" y="295"/>
                    <a:pt x="1857" y="261"/>
                    <a:pt x="1857" y="218"/>
                  </a:cubicBezTo>
                  <a:cubicBezTo>
                    <a:pt x="1857" y="71"/>
                    <a:pt x="1857" y="71"/>
                    <a:pt x="1857" y="71"/>
                  </a:cubicBezTo>
                  <a:cubicBezTo>
                    <a:pt x="1857" y="39"/>
                    <a:pt x="1846" y="34"/>
                    <a:pt x="1820" y="34"/>
                  </a:cubicBezTo>
                  <a:cubicBezTo>
                    <a:pt x="1613" y="34"/>
                    <a:pt x="1613" y="34"/>
                    <a:pt x="1613" y="34"/>
                  </a:cubicBezTo>
                  <a:cubicBezTo>
                    <a:pt x="1587" y="34"/>
                    <a:pt x="1576" y="39"/>
                    <a:pt x="1576" y="71"/>
                  </a:cubicBezTo>
                  <a:cubicBezTo>
                    <a:pt x="1576" y="218"/>
                    <a:pt x="1576" y="218"/>
                    <a:pt x="1576" y="218"/>
                  </a:cubicBezTo>
                  <a:cubicBezTo>
                    <a:pt x="1576" y="261"/>
                    <a:pt x="1541" y="295"/>
                    <a:pt x="1499" y="295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1499" y="261"/>
                    <a:pt x="1499" y="261"/>
                    <a:pt x="1499" y="261"/>
                  </a:cubicBezTo>
                  <a:cubicBezTo>
                    <a:pt x="1522" y="261"/>
                    <a:pt x="1542" y="242"/>
                    <a:pt x="1542" y="218"/>
                  </a:cubicBezTo>
                  <a:cubicBezTo>
                    <a:pt x="1542" y="71"/>
                    <a:pt x="1542" y="71"/>
                    <a:pt x="1542" y="71"/>
                  </a:cubicBezTo>
                  <a:cubicBezTo>
                    <a:pt x="1542" y="24"/>
                    <a:pt x="1565" y="0"/>
                    <a:pt x="1613" y="0"/>
                  </a:cubicBezTo>
                  <a:cubicBezTo>
                    <a:pt x="1820" y="0"/>
                    <a:pt x="1820" y="0"/>
                    <a:pt x="1820" y="0"/>
                  </a:cubicBezTo>
                  <a:cubicBezTo>
                    <a:pt x="1868" y="0"/>
                    <a:pt x="1891" y="24"/>
                    <a:pt x="1891" y="71"/>
                  </a:cubicBezTo>
                  <a:cubicBezTo>
                    <a:pt x="1891" y="218"/>
                    <a:pt x="1891" y="218"/>
                    <a:pt x="1891" y="218"/>
                  </a:cubicBezTo>
                  <a:cubicBezTo>
                    <a:pt x="1891" y="242"/>
                    <a:pt x="1910" y="261"/>
                    <a:pt x="1934" y="261"/>
                  </a:cubicBezTo>
                  <a:cubicBezTo>
                    <a:pt x="2590" y="261"/>
                    <a:pt x="2590" y="261"/>
                    <a:pt x="2590" y="261"/>
                  </a:cubicBezTo>
                  <a:lnTo>
                    <a:pt x="2590" y="2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5" tIns="44807" rIns="89615" bIns="44807" numCol="1" anchor="t" anchorCtr="0" compatLnSpc="1">
              <a:prstTxWarp prst="textNoShape">
                <a:avLst/>
              </a:prstTxWarp>
            </a:bodyPr>
            <a:lstStyle/>
            <a:p>
              <a:pPr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4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Freeform 23">
              <a:extLst>
                <a:ext uri="{FF2B5EF4-FFF2-40B4-BE49-F238E27FC236}">
                  <a16:creationId xmlns:a16="http://schemas.microsoft.com/office/drawing/2014/main" id="{2B4EEF74-98AA-4216-8FEE-C6AFA3BDA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0" y="4550483"/>
              <a:ext cx="3316287" cy="88007"/>
            </a:xfrm>
            <a:custGeom>
              <a:avLst/>
              <a:gdLst>
                <a:gd name="connsiteX0" fmla="*/ 0 w 3316287"/>
                <a:gd name="connsiteY0" fmla="*/ 0 h 88007"/>
                <a:gd name="connsiteX1" fmla="*/ 3183438 w 3316287"/>
                <a:gd name="connsiteY1" fmla="*/ 0 h 88007"/>
                <a:gd name="connsiteX2" fmla="*/ 3316287 w 3316287"/>
                <a:gd name="connsiteY2" fmla="*/ 0 h 88007"/>
                <a:gd name="connsiteX3" fmla="*/ 3316287 w 3316287"/>
                <a:gd name="connsiteY3" fmla="*/ 88007 h 88007"/>
                <a:gd name="connsiteX4" fmla="*/ 3191002 w 3316287"/>
                <a:gd name="connsiteY4" fmla="*/ 88007 h 88007"/>
                <a:gd name="connsiteX5" fmla="*/ 0 w 3316287"/>
                <a:gd name="connsiteY5" fmla="*/ 88007 h 88007"/>
                <a:gd name="connsiteX6" fmla="*/ 0 w 3316287"/>
                <a:gd name="connsiteY6" fmla="*/ 0 h 88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6287" h="88007">
                  <a:moveTo>
                    <a:pt x="0" y="0"/>
                  </a:moveTo>
                  <a:cubicBezTo>
                    <a:pt x="1694304" y="0"/>
                    <a:pt x="2647349" y="0"/>
                    <a:pt x="3183438" y="0"/>
                  </a:cubicBezTo>
                  <a:lnTo>
                    <a:pt x="3316287" y="0"/>
                  </a:lnTo>
                  <a:lnTo>
                    <a:pt x="3316287" y="88007"/>
                  </a:lnTo>
                  <a:lnTo>
                    <a:pt x="3191002" y="88007"/>
                  </a:lnTo>
                  <a:cubicBezTo>
                    <a:pt x="0" y="88007"/>
                    <a:pt x="0" y="88007"/>
                    <a:pt x="0" y="88007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615" tIns="44807" rIns="89615" bIns="44807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7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764" dirty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7272291-216F-4B0C-8108-817C8629BA0E}"/>
              </a:ext>
            </a:extLst>
          </p:cNvPr>
          <p:cNvGrpSpPr/>
          <p:nvPr/>
        </p:nvGrpSpPr>
        <p:grpSpPr>
          <a:xfrm>
            <a:off x="699194" y="4844610"/>
            <a:ext cx="3947239" cy="338132"/>
            <a:chOff x="699193" y="4844608"/>
            <a:chExt cx="3947238" cy="338132"/>
          </a:xfrm>
        </p:grpSpPr>
        <p:sp>
          <p:nvSpPr>
            <p:cNvPr id="12" name="Body1 14">
              <a:extLst>
                <a:ext uri="{FF2B5EF4-FFF2-40B4-BE49-F238E27FC236}">
                  <a16:creationId xmlns:a16="http://schemas.microsoft.com/office/drawing/2014/main" id="{C1B268F9-F87C-464F-94BD-A72C066893A7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>
            <a:xfrm>
              <a:off x="1165996" y="4844608"/>
              <a:ext cx="3480435" cy="3077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1218026" eaLnBrk="1" latinLnBrk="0" hangingPunct="1">
                <a:buClr>
                  <a:schemeClr val="tx2"/>
                </a:buClr>
                <a:buSzPct val="100000"/>
                <a:defRPr lang="x-none" sz="1600" baseline="0">
                  <a:latin typeface="+mn-lt"/>
                </a:defRPr>
              </a:lvl1pPr>
              <a:lvl2pPr marL="193675" lvl="1" indent="-192088" defTabSz="1218026" eaLnBrk="1" latinLnBrk="0" hangingPunct="1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lang="x-none" sz="1600" baseline="0">
                  <a:latin typeface="+mn-lt"/>
                </a:defRPr>
              </a:lvl2pPr>
              <a:lvl3pPr marL="457200" lvl="2" indent="-261938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lang="x-none" sz="1600" baseline="0">
                  <a:latin typeface="+mn-lt"/>
                </a:defRPr>
              </a:lvl3pPr>
              <a:lvl4pPr marL="614363" lvl="3" indent="-155575" defTabSz="1218026" eaLnBrk="1" latinLnBrk="0" hangingPunct="1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lang="x-none" sz="1600" baseline="0">
                  <a:latin typeface="+mn-lt"/>
                </a:defRPr>
              </a:lvl4pPr>
              <a:lvl5pPr marL="749808" lvl="4" indent="-130175" defTabSz="1218026" eaLnBrk="1" latinLnBrk="0" hangingPunct="1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lang="x-none" sz="1600" baseline="0">
                  <a:latin typeface="+mn-lt"/>
                </a:defRPr>
              </a:lvl5pPr>
              <a:lvl6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6pPr>
              <a:lvl7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7pPr>
              <a:lvl8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8pPr>
              <a:lvl9pPr marL="1020030" indent="-177089" defTabSz="12180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2176" baseline="0">
                  <a:latin typeface="+mn-lt"/>
                </a:defRPr>
              </a:lvl9pPr>
            </a:lstStyle>
            <a:p>
              <a:pPr defTabSz="1217996" fontAlgn="base">
                <a:spcBef>
                  <a:spcPct val="0"/>
                </a:spcBef>
                <a:spcAft>
                  <a:spcPct val="0"/>
                </a:spcAft>
                <a:buClr>
                  <a:srgbClr val="002C6C"/>
                </a:buClr>
                <a:defRPr/>
              </a:pPr>
              <a:r>
                <a:rPr lang="en-GB" sz="2000" dirty="0">
                  <a:solidFill>
                    <a:srgbClr val="FFFFFF"/>
                  </a:solidFill>
                  <a:latin typeface="Verdana"/>
                </a:rPr>
                <a:t>christian.zaeske@metro.d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6DE2558-A4E6-461E-AF2B-2DDDB5E9D2B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193" y="4844608"/>
              <a:ext cx="338132" cy="338132"/>
            </a:xfrm>
            <a:prstGeom prst="rect">
              <a:avLst/>
            </a:prstGeom>
          </p:spPr>
        </p:pic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C3667E17-533D-45DE-F400-B798BCD87EFD}"/>
              </a:ext>
            </a:extLst>
          </p:cNvPr>
          <p:cNvSpPr txBox="1"/>
          <p:nvPr/>
        </p:nvSpPr>
        <p:spPr>
          <a:xfrm>
            <a:off x="488144" y="372276"/>
            <a:ext cx="6103158" cy="2392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998" marR="0" lvl="0" indent="0" defTabSz="60952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rgbClr val="F26334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72 Monospace" panose="020B0509030603020204" pitchFamily="49" charset="0"/>
              </a:rPr>
              <a:t>One product. </a:t>
            </a:r>
            <a:endParaRPr lang="en-US" sz="2800" b="1" dirty="0">
              <a:solidFill>
                <a:schemeClr val="bg1"/>
              </a:solidFill>
              <a:latin typeface="+mj-lt"/>
              <a:cs typeface="72 Monospace" panose="020B0509030603020204" pitchFamily="49" charset="0"/>
            </a:endParaRPr>
          </a:p>
          <a:p>
            <a:pPr marL="98998" marR="0" lvl="0" indent="0" defTabSz="60952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rgbClr val="F26334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72 Monospace" panose="020B0509030603020204" pitchFamily="49" charset="0"/>
              </a:rPr>
              <a:t>One experience. </a:t>
            </a:r>
            <a:endParaRPr lang="en-US" sz="2800" b="1" dirty="0">
              <a:solidFill>
                <a:schemeClr val="bg1"/>
              </a:solidFill>
              <a:latin typeface="+mj-lt"/>
              <a:cs typeface="72 Monospace" panose="020B0509030603020204" pitchFamily="49" charset="0"/>
            </a:endParaRPr>
          </a:p>
          <a:p>
            <a:pPr marL="98998" marR="0" lvl="0" indent="0" defTabSz="60952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rgbClr val="F26334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72 Monospace" panose="020B0509030603020204" pitchFamily="49" charset="0"/>
              </a:rPr>
              <a:t>Every channel. </a:t>
            </a:r>
            <a:endParaRPr lang="en-US" sz="2800" b="1" dirty="0">
              <a:solidFill>
                <a:schemeClr val="bg1"/>
              </a:solidFill>
              <a:latin typeface="+mj-lt"/>
              <a:cs typeface="72 Monospace" panose="020B0509030603020204" pitchFamily="49" charset="0"/>
            </a:endParaRPr>
          </a:p>
          <a:p>
            <a:pPr marL="98998" marR="0" lvl="0" indent="0" defTabSz="60952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>
                <a:srgbClr val="F26334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72 Monospace" panose="020B0509030603020204" pitchFamily="49" charset="0"/>
              </a:rPr>
              <a:t>Every country.</a:t>
            </a:r>
          </a:p>
        </p:txBody>
      </p:sp>
    </p:spTree>
    <p:extLst>
      <p:ext uri="{BB962C8B-B14F-4D97-AF65-F5344CB8AC3E}">
        <p14:creationId xmlns:p14="http://schemas.microsoft.com/office/powerpoint/2010/main" val="789867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3">
            <a:extLst>
              <a:ext uri="{FF2B5EF4-FFF2-40B4-BE49-F238E27FC236}">
                <a16:creationId xmlns:a16="http://schemas.microsoft.com/office/drawing/2014/main" id="{ACA94D63-F863-4DC2-BDF6-829C1939B25B}"/>
              </a:ext>
            </a:extLst>
          </p:cNvPr>
          <p:cNvSpPr/>
          <p:nvPr/>
        </p:nvSpPr>
        <p:spPr>
          <a:xfrm>
            <a:off x="412066" y="1052736"/>
            <a:ext cx="5191491" cy="666750"/>
          </a:xfrm>
          <a:custGeom>
            <a:avLst/>
            <a:gdLst/>
            <a:ahLst/>
            <a:cxnLst/>
            <a:rect l="l" t="t" r="r" b="b"/>
            <a:pathLst>
              <a:path w="7633970" h="666750">
                <a:moveTo>
                  <a:pt x="0" y="666203"/>
                </a:moveTo>
                <a:lnTo>
                  <a:pt x="7633500" y="666203"/>
                </a:lnTo>
                <a:lnTo>
                  <a:pt x="7633500" y="0"/>
                </a:lnTo>
                <a:lnTo>
                  <a:pt x="0" y="0"/>
                </a:lnTo>
                <a:lnTo>
                  <a:pt x="0" y="666203"/>
                </a:lnTo>
                <a:close/>
              </a:path>
            </a:pathLst>
          </a:custGeom>
          <a:solidFill>
            <a:srgbClr val="003B7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10236" y="3420083"/>
            <a:ext cx="12193270" cy="2757826"/>
          </a:xfrm>
          <a:custGeom>
            <a:avLst/>
            <a:gdLst/>
            <a:ahLst/>
            <a:cxnLst/>
            <a:rect l="l" t="t" r="r" b="b"/>
            <a:pathLst>
              <a:path w="12193270" h="2574290">
                <a:moveTo>
                  <a:pt x="0" y="2573997"/>
                </a:moveTo>
                <a:lnTo>
                  <a:pt x="12193206" y="2573997"/>
                </a:lnTo>
                <a:lnTo>
                  <a:pt x="12193206" y="0"/>
                </a:lnTo>
                <a:lnTo>
                  <a:pt x="0" y="0"/>
                </a:lnTo>
                <a:lnTo>
                  <a:pt x="0" y="2573997"/>
                </a:lnTo>
                <a:close/>
              </a:path>
            </a:pathLst>
          </a:custGeom>
          <a:solidFill>
            <a:srgbClr val="E2F3F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2" name="object 82"/>
          <p:cNvSpPr/>
          <p:nvPr/>
        </p:nvSpPr>
        <p:spPr>
          <a:xfrm>
            <a:off x="408599" y="6455050"/>
            <a:ext cx="9547225" cy="0"/>
          </a:xfrm>
          <a:custGeom>
            <a:avLst/>
            <a:gdLst/>
            <a:ahLst/>
            <a:cxnLst/>
            <a:rect l="l" t="t" r="r" b="b"/>
            <a:pathLst>
              <a:path w="9547225">
                <a:moveTo>
                  <a:pt x="0" y="0"/>
                </a:moveTo>
                <a:lnTo>
                  <a:pt x="9547199" y="0"/>
                </a:lnTo>
              </a:path>
            </a:pathLst>
          </a:custGeom>
          <a:ln w="10160">
            <a:solidFill>
              <a:srgbClr val="003B7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5" name="object 85"/>
          <p:cNvSpPr txBox="1"/>
          <p:nvPr/>
        </p:nvSpPr>
        <p:spPr>
          <a:xfrm>
            <a:off x="1343472" y="6559773"/>
            <a:ext cx="864095" cy="1359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800" dirty="0"/>
              <a:t>© </a:t>
            </a:r>
            <a:r>
              <a:rPr sz="700" dirty="0">
                <a:solidFill>
                  <a:srgbClr val="003B7D"/>
                </a:solidFill>
                <a:latin typeface="Verdana"/>
                <a:cs typeface="Verdana"/>
              </a:rPr>
              <a:t>METRO</a:t>
            </a:r>
            <a:r>
              <a:rPr sz="700" spc="-70" dirty="0">
                <a:solidFill>
                  <a:srgbClr val="003B7D"/>
                </a:solidFill>
                <a:latin typeface="Verdana"/>
                <a:cs typeface="Verdana"/>
              </a:rPr>
              <a:t> </a:t>
            </a:r>
            <a:r>
              <a:rPr sz="700" dirty="0">
                <a:solidFill>
                  <a:srgbClr val="003B7D"/>
                </a:solidFill>
                <a:latin typeface="Verdana"/>
                <a:cs typeface="Verdana"/>
              </a:rPr>
              <a:t>AG.</a:t>
            </a:r>
            <a:endParaRPr sz="700" dirty="0">
              <a:latin typeface="Verdana"/>
              <a:cs typeface="Verdana"/>
            </a:endParaRPr>
          </a:p>
        </p:txBody>
      </p:sp>
      <p:sp>
        <p:nvSpPr>
          <p:cNvPr id="63" name="object 85">
            <a:extLst>
              <a:ext uri="{FF2B5EF4-FFF2-40B4-BE49-F238E27FC236}">
                <a16:creationId xmlns:a16="http://schemas.microsoft.com/office/drawing/2014/main" id="{7C0D228D-5206-4E7A-BB7E-354D460C6614}"/>
              </a:ext>
            </a:extLst>
          </p:cNvPr>
          <p:cNvSpPr txBox="1"/>
          <p:nvPr/>
        </p:nvSpPr>
        <p:spPr>
          <a:xfrm>
            <a:off x="8719335" y="6308276"/>
            <a:ext cx="1250315" cy="1205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de-DE" sz="700" dirty="0">
                <a:latin typeface="Verdana"/>
                <a:cs typeface="Verdana"/>
              </a:rPr>
              <a:t>As of</a:t>
            </a:r>
            <a:r>
              <a:rPr sz="700" dirty="0">
                <a:latin typeface="Verdana"/>
                <a:cs typeface="Verdana"/>
              </a:rPr>
              <a:t>: </a:t>
            </a:r>
            <a:r>
              <a:rPr lang="de-DE" sz="700" dirty="0">
                <a:latin typeface="Verdana"/>
                <a:cs typeface="Verdana"/>
              </a:rPr>
              <a:t>30 September 2022</a:t>
            </a:r>
            <a:endParaRPr sz="700" dirty="0">
              <a:latin typeface="Verdana"/>
              <a:cs typeface="Verdan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12203" y="411200"/>
            <a:ext cx="5179741" cy="666750"/>
          </a:xfrm>
          <a:custGeom>
            <a:avLst/>
            <a:gdLst/>
            <a:ahLst/>
            <a:cxnLst/>
            <a:rect l="l" t="t" r="r" b="b"/>
            <a:pathLst>
              <a:path w="7633970" h="666750">
                <a:moveTo>
                  <a:pt x="0" y="666203"/>
                </a:moveTo>
                <a:lnTo>
                  <a:pt x="7633500" y="666203"/>
                </a:lnTo>
                <a:lnTo>
                  <a:pt x="7633500" y="0"/>
                </a:lnTo>
                <a:lnTo>
                  <a:pt x="0" y="0"/>
                </a:lnTo>
                <a:lnTo>
                  <a:pt x="0" y="666203"/>
                </a:lnTo>
                <a:close/>
              </a:path>
            </a:pathLst>
          </a:custGeom>
          <a:solidFill>
            <a:srgbClr val="003B7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514024" y="408513"/>
            <a:ext cx="7459345" cy="6296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de-DE" sz="4000" b="1" spc="10" dirty="0">
                <a:solidFill>
                  <a:srgbClr val="F7AD00"/>
                </a:solidFill>
                <a:latin typeface="Verdana"/>
                <a:cs typeface="Verdana"/>
              </a:rPr>
              <a:t>MULTICHANNEL</a:t>
            </a:r>
          </a:p>
        </p:txBody>
      </p:sp>
      <p:grpSp>
        <p:nvGrpSpPr>
          <p:cNvPr id="16" name="Group 8">
            <a:extLst>
              <a:ext uri="{FF2B5EF4-FFF2-40B4-BE49-F238E27FC236}">
                <a16:creationId xmlns:a16="http://schemas.microsoft.com/office/drawing/2014/main" id="{850484CC-2554-4699-A7D6-AE4436043E65}"/>
              </a:ext>
            </a:extLst>
          </p:cNvPr>
          <p:cNvGrpSpPr/>
          <p:nvPr/>
        </p:nvGrpSpPr>
        <p:grpSpPr>
          <a:xfrm>
            <a:off x="7236863" y="1077950"/>
            <a:ext cx="4700475" cy="4924474"/>
            <a:chOff x="4330082" y="2916802"/>
            <a:chExt cx="4623418" cy="4843745"/>
          </a:xfrm>
        </p:grpSpPr>
        <p:sp>
          <p:nvSpPr>
            <p:cNvPr id="17" name="Freihandform: Form 90">
              <a:extLst>
                <a:ext uri="{FF2B5EF4-FFF2-40B4-BE49-F238E27FC236}">
                  <a16:creationId xmlns:a16="http://schemas.microsoft.com/office/drawing/2014/main" id="{1ABEE816-9CFA-4A5A-A1BA-8B410A9D7409}"/>
                </a:ext>
              </a:extLst>
            </p:cNvPr>
            <p:cNvSpPr/>
            <p:nvPr/>
          </p:nvSpPr>
          <p:spPr>
            <a:xfrm>
              <a:off x="6078587" y="4285828"/>
              <a:ext cx="1726215" cy="1985813"/>
            </a:xfrm>
            <a:custGeom>
              <a:avLst/>
              <a:gdLst>
                <a:gd name="connsiteX0" fmla="*/ 1137554 w 1726215"/>
                <a:gd name="connsiteY0" fmla="*/ 0 h 1985813"/>
                <a:gd name="connsiteX1" fmla="*/ 1654192 w 1726215"/>
                <a:gd name="connsiteY1" fmla="*/ 78108 h 1985813"/>
                <a:gd name="connsiteX2" fmla="*/ 1702776 w 1726215"/>
                <a:gd name="connsiteY2" fmla="*/ 95890 h 1985813"/>
                <a:gd name="connsiteX3" fmla="*/ 1717245 w 1726215"/>
                <a:gd name="connsiteY3" fmla="*/ 190700 h 1985813"/>
                <a:gd name="connsiteX4" fmla="*/ 1726215 w 1726215"/>
                <a:gd name="connsiteY4" fmla="*/ 368335 h 1985813"/>
                <a:gd name="connsiteX5" fmla="*/ 665114 w 1726215"/>
                <a:gd name="connsiteY5" fmla="*/ 1969165 h 1985813"/>
                <a:gd name="connsiteX6" fmla="*/ 619628 w 1726215"/>
                <a:gd name="connsiteY6" fmla="*/ 1985813 h 1985813"/>
                <a:gd name="connsiteX7" fmla="*/ 625664 w 1726215"/>
                <a:gd name="connsiteY7" fmla="*/ 1946263 h 1985813"/>
                <a:gd name="connsiteX8" fmla="*/ 634634 w 1726215"/>
                <a:gd name="connsiteY8" fmla="*/ 1768628 h 1985813"/>
                <a:gd name="connsiteX9" fmla="*/ 2396 w 1726215"/>
                <a:gd name="connsiteY9" fmla="*/ 427997 h 1985813"/>
                <a:gd name="connsiteX10" fmla="*/ 0 w 1726215"/>
                <a:gd name="connsiteY10" fmla="*/ 426205 h 1985813"/>
                <a:gd name="connsiteX11" fmla="*/ 32432 w 1726215"/>
                <a:gd name="connsiteY11" fmla="*/ 396729 h 1985813"/>
                <a:gd name="connsiteX12" fmla="*/ 1137554 w 1726215"/>
                <a:gd name="connsiteY12" fmla="*/ 0 h 1985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26215" h="1985813">
                  <a:moveTo>
                    <a:pt x="1137554" y="0"/>
                  </a:moveTo>
                  <a:cubicBezTo>
                    <a:pt x="1317464" y="0"/>
                    <a:pt x="1490986" y="27346"/>
                    <a:pt x="1654192" y="78108"/>
                  </a:cubicBezTo>
                  <a:lnTo>
                    <a:pt x="1702776" y="95890"/>
                  </a:lnTo>
                  <a:lnTo>
                    <a:pt x="1717245" y="190700"/>
                  </a:lnTo>
                  <a:cubicBezTo>
                    <a:pt x="1723177" y="249105"/>
                    <a:pt x="1726215" y="308365"/>
                    <a:pt x="1726215" y="368335"/>
                  </a:cubicBezTo>
                  <a:cubicBezTo>
                    <a:pt x="1726215" y="1087973"/>
                    <a:pt x="1288679" y="1705419"/>
                    <a:pt x="665114" y="1969165"/>
                  </a:cubicBezTo>
                  <a:lnTo>
                    <a:pt x="619628" y="1985813"/>
                  </a:lnTo>
                  <a:lnTo>
                    <a:pt x="625664" y="1946263"/>
                  </a:lnTo>
                  <a:cubicBezTo>
                    <a:pt x="631596" y="1887858"/>
                    <a:pt x="634634" y="1828598"/>
                    <a:pt x="634634" y="1768628"/>
                  </a:cubicBezTo>
                  <a:cubicBezTo>
                    <a:pt x="634634" y="1228900"/>
                    <a:pt x="388520" y="746654"/>
                    <a:pt x="2396" y="427997"/>
                  </a:cubicBezTo>
                  <a:lnTo>
                    <a:pt x="0" y="426205"/>
                  </a:lnTo>
                  <a:lnTo>
                    <a:pt x="32432" y="396729"/>
                  </a:lnTo>
                  <a:cubicBezTo>
                    <a:pt x="332750" y="148884"/>
                    <a:pt x="717766" y="0"/>
                    <a:pt x="1137554" y="0"/>
                  </a:cubicBezTo>
                  <a:close/>
                </a:path>
              </a:pathLst>
            </a:custGeom>
            <a:solidFill>
              <a:srgbClr val="D2B46C"/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ihandform: Form 91">
              <a:extLst>
                <a:ext uri="{FF2B5EF4-FFF2-40B4-BE49-F238E27FC236}">
                  <a16:creationId xmlns:a16="http://schemas.microsoft.com/office/drawing/2014/main" id="{4B558622-ABA4-406F-9F40-4DF3D3F163AE}"/>
                </a:ext>
              </a:extLst>
            </p:cNvPr>
            <p:cNvSpPr/>
            <p:nvPr/>
          </p:nvSpPr>
          <p:spPr>
            <a:xfrm>
              <a:off x="4330082" y="4317095"/>
              <a:ext cx="1748505" cy="1978538"/>
            </a:xfrm>
            <a:custGeom>
              <a:avLst/>
              <a:gdLst>
                <a:gd name="connsiteX0" fmla="*/ 645779 w 1748505"/>
                <a:gd name="connsiteY0" fmla="*/ 0 h 1978538"/>
                <a:gd name="connsiteX1" fmla="*/ 1617153 w 1748505"/>
                <a:gd name="connsiteY1" fmla="*/ 296714 h 1978538"/>
                <a:gd name="connsiteX2" fmla="*/ 1748505 w 1748505"/>
                <a:gd name="connsiteY2" fmla="*/ 394937 h 1978538"/>
                <a:gd name="connsiteX3" fmla="*/ 1657560 w 1748505"/>
                <a:gd name="connsiteY3" fmla="*/ 477593 h 1978538"/>
                <a:gd name="connsiteX4" fmla="*/ 1148699 w 1748505"/>
                <a:gd name="connsiteY4" fmla="*/ 1706092 h 1978538"/>
                <a:gd name="connsiteX5" fmla="*/ 1157669 w 1748505"/>
                <a:gd name="connsiteY5" fmla="*/ 1883727 h 1978538"/>
                <a:gd name="connsiteX6" fmla="*/ 1172139 w 1748505"/>
                <a:gd name="connsiteY6" fmla="*/ 1978538 h 1978538"/>
                <a:gd name="connsiteX7" fmla="*/ 1061101 w 1748505"/>
                <a:gd name="connsiteY7" fmla="*/ 1937897 h 1978538"/>
                <a:gd name="connsiteX8" fmla="*/ 0 w 1748505"/>
                <a:gd name="connsiteY8" fmla="*/ 337067 h 1978538"/>
                <a:gd name="connsiteX9" fmla="*/ 8970 w 1748505"/>
                <a:gd name="connsiteY9" fmla="*/ 159432 h 1978538"/>
                <a:gd name="connsiteX10" fmla="*/ 15006 w 1748505"/>
                <a:gd name="connsiteY10" fmla="*/ 119882 h 1978538"/>
                <a:gd name="connsiteX11" fmla="*/ 129141 w 1748505"/>
                <a:gd name="connsiteY11" fmla="*/ 78108 h 1978538"/>
                <a:gd name="connsiteX12" fmla="*/ 645779 w 1748505"/>
                <a:gd name="connsiteY12" fmla="*/ 0 h 1978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8505" h="1978538">
                  <a:moveTo>
                    <a:pt x="645779" y="0"/>
                  </a:moveTo>
                  <a:cubicBezTo>
                    <a:pt x="1005598" y="0"/>
                    <a:pt x="1339869" y="109384"/>
                    <a:pt x="1617153" y="296714"/>
                  </a:cubicBezTo>
                  <a:lnTo>
                    <a:pt x="1748505" y="394937"/>
                  </a:lnTo>
                  <a:lnTo>
                    <a:pt x="1657560" y="477593"/>
                  </a:lnTo>
                  <a:cubicBezTo>
                    <a:pt x="1343160" y="791994"/>
                    <a:pt x="1148699" y="1226334"/>
                    <a:pt x="1148699" y="1706092"/>
                  </a:cubicBezTo>
                  <a:cubicBezTo>
                    <a:pt x="1148699" y="1766062"/>
                    <a:pt x="1151738" y="1825322"/>
                    <a:pt x="1157669" y="1883727"/>
                  </a:cubicBezTo>
                  <a:lnTo>
                    <a:pt x="1172139" y="1978538"/>
                  </a:lnTo>
                  <a:lnTo>
                    <a:pt x="1061101" y="1937897"/>
                  </a:lnTo>
                  <a:cubicBezTo>
                    <a:pt x="437536" y="1674151"/>
                    <a:pt x="0" y="1056705"/>
                    <a:pt x="0" y="337067"/>
                  </a:cubicBezTo>
                  <a:cubicBezTo>
                    <a:pt x="0" y="277097"/>
                    <a:pt x="3038" y="217837"/>
                    <a:pt x="8970" y="159432"/>
                  </a:cubicBezTo>
                  <a:lnTo>
                    <a:pt x="15006" y="119882"/>
                  </a:lnTo>
                  <a:lnTo>
                    <a:pt x="129141" y="78108"/>
                  </a:lnTo>
                  <a:cubicBezTo>
                    <a:pt x="292347" y="27346"/>
                    <a:pt x="465869" y="0"/>
                    <a:pt x="645779" y="0"/>
                  </a:cubicBezTo>
                  <a:close/>
                </a:path>
              </a:pathLst>
            </a:custGeom>
            <a:solidFill>
              <a:srgbClr val="B69F58"/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ihandform: Form 92">
              <a:extLst>
                <a:ext uri="{FF2B5EF4-FFF2-40B4-BE49-F238E27FC236}">
                  <a16:creationId xmlns:a16="http://schemas.microsoft.com/office/drawing/2014/main" id="{D0B80B7E-C2C8-4170-A850-FF5801C5BDEF}"/>
                </a:ext>
              </a:extLst>
            </p:cNvPr>
            <p:cNvSpPr/>
            <p:nvPr/>
          </p:nvSpPr>
          <p:spPr>
            <a:xfrm>
              <a:off x="5502220" y="6271640"/>
              <a:ext cx="1195994" cy="1093970"/>
            </a:xfrm>
            <a:custGeom>
              <a:avLst/>
              <a:gdLst>
                <a:gd name="connsiteX0" fmla="*/ 1195994 w 1195994"/>
                <a:gd name="connsiteY0" fmla="*/ 0 h 1093970"/>
                <a:gd name="connsiteX1" fmla="*/ 1175703 w 1195994"/>
                <a:gd name="connsiteY1" fmla="*/ 132954 h 1093970"/>
                <a:gd name="connsiteX2" fmla="*/ 702139 w 1195994"/>
                <a:gd name="connsiteY2" fmla="*/ 1011314 h 1093970"/>
                <a:gd name="connsiteX3" fmla="*/ 611194 w 1195994"/>
                <a:gd name="connsiteY3" fmla="*/ 1093970 h 1093970"/>
                <a:gd name="connsiteX4" fmla="*/ 608798 w 1195994"/>
                <a:gd name="connsiteY4" fmla="*/ 1092178 h 1093970"/>
                <a:gd name="connsiteX5" fmla="*/ 11857 w 1195994"/>
                <a:gd name="connsiteY5" fmla="*/ 101686 h 1093970"/>
                <a:gd name="connsiteX6" fmla="*/ 0 w 1195994"/>
                <a:gd name="connsiteY6" fmla="*/ 23993 h 1093970"/>
                <a:gd name="connsiteX7" fmla="*/ 48583 w 1195994"/>
                <a:gd name="connsiteY7" fmla="*/ 41774 h 1093970"/>
                <a:gd name="connsiteX8" fmla="*/ 565221 w 1195994"/>
                <a:gd name="connsiteY8" fmla="*/ 119882 h 1093970"/>
                <a:gd name="connsiteX9" fmla="*/ 1081859 w 1195994"/>
                <a:gd name="connsiteY9" fmla="*/ 41774 h 1093970"/>
                <a:gd name="connsiteX10" fmla="*/ 1195994 w 1195994"/>
                <a:gd name="connsiteY10" fmla="*/ 0 h 1093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5994" h="1093970">
                  <a:moveTo>
                    <a:pt x="1195994" y="0"/>
                  </a:moveTo>
                  <a:lnTo>
                    <a:pt x="1175703" y="132954"/>
                  </a:lnTo>
                  <a:cubicBezTo>
                    <a:pt x="1106274" y="472248"/>
                    <a:pt x="937939" y="775514"/>
                    <a:pt x="702139" y="1011314"/>
                  </a:cubicBezTo>
                  <a:lnTo>
                    <a:pt x="611194" y="1093970"/>
                  </a:lnTo>
                  <a:lnTo>
                    <a:pt x="608798" y="1092178"/>
                  </a:lnTo>
                  <a:cubicBezTo>
                    <a:pt x="308480" y="844334"/>
                    <a:pt x="92858" y="497528"/>
                    <a:pt x="11857" y="101686"/>
                  </a:cubicBezTo>
                  <a:lnTo>
                    <a:pt x="0" y="23993"/>
                  </a:lnTo>
                  <a:lnTo>
                    <a:pt x="48583" y="41774"/>
                  </a:lnTo>
                  <a:cubicBezTo>
                    <a:pt x="211789" y="92536"/>
                    <a:pt x="385312" y="119882"/>
                    <a:pt x="565221" y="119882"/>
                  </a:cubicBezTo>
                  <a:cubicBezTo>
                    <a:pt x="745131" y="119882"/>
                    <a:pt x="918653" y="92536"/>
                    <a:pt x="1081859" y="41774"/>
                  </a:cubicBezTo>
                  <a:lnTo>
                    <a:pt x="1195994" y="0"/>
                  </a:lnTo>
                  <a:close/>
                </a:path>
              </a:pathLst>
            </a:custGeom>
            <a:solidFill>
              <a:srgbClr val="0089E3">
                <a:lumMod val="40000"/>
                <a:lumOff val="60000"/>
                <a:alpha val="50000"/>
              </a:srgbClr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0" name="Freihandform: Form 93">
              <a:extLst>
                <a:ext uri="{FF2B5EF4-FFF2-40B4-BE49-F238E27FC236}">
                  <a16:creationId xmlns:a16="http://schemas.microsoft.com/office/drawing/2014/main" id="{17C6E398-5D8F-47E1-A57A-EA6F9E3E67CD}"/>
                </a:ext>
              </a:extLst>
            </p:cNvPr>
            <p:cNvSpPr/>
            <p:nvPr/>
          </p:nvSpPr>
          <p:spPr>
            <a:xfrm>
              <a:off x="4345088" y="2916802"/>
              <a:ext cx="3436275" cy="1795230"/>
            </a:xfrm>
            <a:custGeom>
              <a:avLst/>
              <a:gdLst>
                <a:gd name="connsiteX0" fmla="*/ 1722354 w 3436275"/>
                <a:gd name="connsiteY0" fmla="*/ 0 h 1795230"/>
                <a:gd name="connsiteX1" fmla="*/ 3424417 w 3436275"/>
                <a:gd name="connsiteY1" fmla="*/ 1387221 h 1795230"/>
                <a:gd name="connsiteX2" fmla="*/ 3436275 w 3436275"/>
                <a:gd name="connsiteY2" fmla="*/ 1464915 h 1795230"/>
                <a:gd name="connsiteX3" fmla="*/ 3387691 w 3436275"/>
                <a:gd name="connsiteY3" fmla="*/ 1447133 h 1795230"/>
                <a:gd name="connsiteX4" fmla="*/ 2871053 w 3436275"/>
                <a:gd name="connsiteY4" fmla="*/ 1369025 h 1795230"/>
                <a:gd name="connsiteX5" fmla="*/ 1765931 w 3436275"/>
                <a:gd name="connsiteY5" fmla="*/ 1765754 h 1795230"/>
                <a:gd name="connsiteX6" fmla="*/ 1733499 w 3436275"/>
                <a:gd name="connsiteY6" fmla="*/ 1795230 h 1795230"/>
                <a:gd name="connsiteX7" fmla="*/ 1602147 w 3436275"/>
                <a:gd name="connsiteY7" fmla="*/ 1697007 h 1795230"/>
                <a:gd name="connsiteX8" fmla="*/ 630773 w 3436275"/>
                <a:gd name="connsiteY8" fmla="*/ 1400293 h 1795230"/>
                <a:gd name="connsiteX9" fmla="*/ 114135 w 3436275"/>
                <a:gd name="connsiteY9" fmla="*/ 1478401 h 1795230"/>
                <a:gd name="connsiteX10" fmla="*/ 0 w 3436275"/>
                <a:gd name="connsiteY10" fmla="*/ 1520175 h 1795230"/>
                <a:gd name="connsiteX11" fmla="*/ 20291 w 3436275"/>
                <a:gd name="connsiteY11" fmla="*/ 1387221 h 1795230"/>
                <a:gd name="connsiteX12" fmla="*/ 1722354 w 3436275"/>
                <a:gd name="connsiteY12" fmla="*/ 0 h 1795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36275" h="1795230">
                  <a:moveTo>
                    <a:pt x="1722354" y="0"/>
                  </a:moveTo>
                  <a:cubicBezTo>
                    <a:pt x="2561932" y="0"/>
                    <a:pt x="3262415" y="595536"/>
                    <a:pt x="3424417" y="1387221"/>
                  </a:cubicBezTo>
                  <a:lnTo>
                    <a:pt x="3436275" y="1464915"/>
                  </a:lnTo>
                  <a:lnTo>
                    <a:pt x="3387691" y="1447133"/>
                  </a:lnTo>
                  <a:cubicBezTo>
                    <a:pt x="3224485" y="1396371"/>
                    <a:pt x="3050963" y="1369025"/>
                    <a:pt x="2871053" y="1369025"/>
                  </a:cubicBezTo>
                  <a:cubicBezTo>
                    <a:pt x="2451265" y="1369025"/>
                    <a:pt x="2066249" y="1517909"/>
                    <a:pt x="1765931" y="1765754"/>
                  </a:cubicBezTo>
                  <a:lnTo>
                    <a:pt x="1733499" y="1795230"/>
                  </a:lnTo>
                  <a:lnTo>
                    <a:pt x="1602147" y="1697007"/>
                  </a:lnTo>
                  <a:cubicBezTo>
                    <a:pt x="1324863" y="1509677"/>
                    <a:pt x="990592" y="1400293"/>
                    <a:pt x="630773" y="1400293"/>
                  </a:cubicBezTo>
                  <a:cubicBezTo>
                    <a:pt x="450863" y="1400293"/>
                    <a:pt x="277341" y="1427639"/>
                    <a:pt x="114135" y="1478401"/>
                  </a:cubicBezTo>
                  <a:lnTo>
                    <a:pt x="0" y="1520175"/>
                  </a:lnTo>
                  <a:lnTo>
                    <a:pt x="20291" y="1387221"/>
                  </a:lnTo>
                  <a:cubicBezTo>
                    <a:pt x="182293" y="595536"/>
                    <a:pt x="882776" y="0"/>
                    <a:pt x="1722354" y="0"/>
                  </a:cubicBezTo>
                  <a:close/>
                </a:path>
              </a:pathLst>
            </a:custGeom>
            <a:solidFill>
              <a:srgbClr val="F7AC01">
                <a:alpha val="85000"/>
              </a:srgbClr>
            </a:solidFill>
            <a:ln w="28575">
              <a:solidFill>
                <a:srgbClr val="FFFFFF"/>
              </a:solidFill>
            </a:ln>
            <a:effectLst/>
          </p:spPr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1" name="Freihandform: Form 94">
              <a:extLst>
                <a:ext uri="{FF2B5EF4-FFF2-40B4-BE49-F238E27FC236}">
                  <a16:creationId xmlns:a16="http://schemas.microsoft.com/office/drawing/2014/main" id="{1306C058-BC51-4469-BE24-3A6D6028019A}"/>
                </a:ext>
              </a:extLst>
            </p:cNvPr>
            <p:cNvSpPr/>
            <p:nvPr/>
          </p:nvSpPr>
          <p:spPr>
            <a:xfrm>
              <a:off x="6113414" y="4381717"/>
              <a:ext cx="2840086" cy="3378830"/>
            </a:xfrm>
            <a:custGeom>
              <a:avLst/>
              <a:gdLst>
                <a:gd name="connsiteX0" fmla="*/ 1667948 w 2840086"/>
                <a:gd name="connsiteY0" fmla="*/ 0 h 3378830"/>
                <a:gd name="connsiteX1" fmla="*/ 1778985 w 2840086"/>
                <a:gd name="connsiteY1" fmla="*/ 40640 h 3378830"/>
                <a:gd name="connsiteX2" fmla="*/ 2840086 w 2840086"/>
                <a:gd name="connsiteY2" fmla="*/ 1641470 h 3378830"/>
                <a:gd name="connsiteX3" fmla="*/ 1102726 w 2840086"/>
                <a:gd name="connsiteY3" fmla="*/ 3378830 h 3378830"/>
                <a:gd name="connsiteX4" fmla="*/ 131352 w 2840086"/>
                <a:gd name="connsiteY4" fmla="*/ 3082116 h 3378830"/>
                <a:gd name="connsiteX5" fmla="*/ 0 w 2840086"/>
                <a:gd name="connsiteY5" fmla="*/ 2983893 h 3378830"/>
                <a:gd name="connsiteX6" fmla="*/ 90945 w 2840086"/>
                <a:gd name="connsiteY6" fmla="*/ 2901237 h 3378830"/>
                <a:gd name="connsiteX7" fmla="*/ 564509 w 2840086"/>
                <a:gd name="connsiteY7" fmla="*/ 2022877 h 3378830"/>
                <a:gd name="connsiteX8" fmla="*/ 584800 w 2840086"/>
                <a:gd name="connsiteY8" fmla="*/ 1889923 h 3378830"/>
                <a:gd name="connsiteX9" fmla="*/ 630286 w 2840086"/>
                <a:gd name="connsiteY9" fmla="*/ 1873275 h 3378830"/>
                <a:gd name="connsiteX10" fmla="*/ 1691387 w 2840086"/>
                <a:gd name="connsiteY10" fmla="*/ 272445 h 3378830"/>
                <a:gd name="connsiteX11" fmla="*/ 1682417 w 2840086"/>
                <a:gd name="connsiteY11" fmla="*/ 94810 h 3378830"/>
                <a:gd name="connsiteX12" fmla="*/ 1667948 w 2840086"/>
                <a:gd name="connsiteY12" fmla="*/ 0 h 337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40086" h="3378830">
                  <a:moveTo>
                    <a:pt x="1667948" y="0"/>
                  </a:moveTo>
                  <a:lnTo>
                    <a:pt x="1778985" y="40640"/>
                  </a:lnTo>
                  <a:cubicBezTo>
                    <a:pt x="2402549" y="304386"/>
                    <a:pt x="2840086" y="921832"/>
                    <a:pt x="2840086" y="1641470"/>
                  </a:cubicBezTo>
                  <a:cubicBezTo>
                    <a:pt x="2840086" y="2600987"/>
                    <a:pt x="2062243" y="3378830"/>
                    <a:pt x="1102726" y="3378830"/>
                  </a:cubicBezTo>
                  <a:cubicBezTo>
                    <a:pt x="742907" y="3378830"/>
                    <a:pt x="408636" y="3269446"/>
                    <a:pt x="131352" y="3082116"/>
                  </a:cubicBezTo>
                  <a:lnTo>
                    <a:pt x="0" y="2983893"/>
                  </a:lnTo>
                  <a:lnTo>
                    <a:pt x="90945" y="2901237"/>
                  </a:lnTo>
                  <a:cubicBezTo>
                    <a:pt x="326745" y="2665437"/>
                    <a:pt x="495080" y="2362171"/>
                    <a:pt x="564509" y="2022877"/>
                  </a:cubicBezTo>
                  <a:lnTo>
                    <a:pt x="584800" y="1889923"/>
                  </a:lnTo>
                  <a:lnTo>
                    <a:pt x="630286" y="1873275"/>
                  </a:lnTo>
                  <a:cubicBezTo>
                    <a:pt x="1253851" y="1609529"/>
                    <a:pt x="1691387" y="992083"/>
                    <a:pt x="1691387" y="272445"/>
                  </a:cubicBezTo>
                  <a:cubicBezTo>
                    <a:pt x="1691387" y="212475"/>
                    <a:pt x="1688349" y="153215"/>
                    <a:pt x="1682417" y="94810"/>
                  </a:cubicBezTo>
                  <a:lnTo>
                    <a:pt x="1667948" y="0"/>
                  </a:lnTo>
                  <a:close/>
                </a:path>
              </a:pathLst>
            </a:custGeom>
            <a:solidFill>
              <a:srgbClr val="A6ADB1"/>
            </a:solidFill>
            <a:ln w="28575">
              <a:solidFill>
                <a:srgbClr val="FFFFFF"/>
              </a:solidFill>
            </a:ln>
            <a:effectLst/>
          </p:spPr>
          <p:txBody>
            <a:bodyPr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22" name="Freihandform: Form 96">
              <a:extLst>
                <a:ext uri="{FF2B5EF4-FFF2-40B4-BE49-F238E27FC236}">
                  <a16:creationId xmlns:a16="http://schemas.microsoft.com/office/drawing/2014/main" id="{214CDA5E-7E57-4030-B26B-30EC9965ACC7}"/>
                </a:ext>
              </a:extLst>
            </p:cNvPr>
            <p:cNvSpPr/>
            <p:nvPr/>
          </p:nvSpPr>
          <p:spPr>
            <a:xfrm>
              <a:off x="5478780" y="4712032"/>
              <a:ext cx="1234440" cy="1679490"/>
            </a:xfrm>
            <a:custGeom>
              <a:avLst/>
              <a:gdLst>
                <a:gd name="connsiteX0" fmla="*/ 599806 w 1234440"/>
                <a:gd name="connsiteY0" fmla="*/ 0 h 1679490"/>
                <a:gd name="connsiteX1" fmla="*/ 602202 w 1234440"/>
                <a:gd name="connsiteY1" fmla="*/ 1792 h 1679490"/>
                <a:gd name="connsiteX2" fmla="*/ 1234440 w 1234440"/>
                <a:gd name="connsiteY2" fmla="*/ 1342423 h 1679490"/>
                <a:gd name="connsiteX3" fmla="*/ 1225470 w 1234440"/>
                <a:gd name="connsiteY3" fmla="*/ 1520058 h 1679490"/>
                <a:gd name="connsiteX4" fmla="*/ 1219434 w 1234440"/>
                <a:gd name="connsiteY4" fmla="*/ 1559608 h 1679490"/>
                <a:gd name="connsiteX5" fmla="*/ 1105299 w 1234440"/>
                <a:gd name="connsiteY5" fmla="*/ 1601382 h 1679490"/>
                <a:gd name="connsiteX6" fmla="*/ 588661 w 1234440"/>
                <a:gd name="connsiteY6" fmla="*/ 1679490 h 1679490"/>
                <a:gd name="connsiteX7" fmla="*/ 72023 w 1234440"/>
                <a:gd name="connsiteY7" fmla="*/ 1601382 h 1679490"/>
                <a:gd name="connsiteX8" fmla="*/ 23440 w 1234440"/>
                <a:gd name="connsiteY8" fmla="*/ 1583601 h 1679490"/>
                <a:gd name="connsiteX9" fmla="*/ 8970 w 1234440"/>
                <a:gd name="connsiteY9" fmla="*/ 1488790 h 1679490"/>
                <a:gd name="connsiteX10" fmla="*/ 0 w 1234440"/>
                <a:gd name="connsiteY10" fmla="*/ 1311155 h 1679490"/>
                <a:gd name="connsiteX11" fmla="*/ 508861 w 1234440"/>
                <a:gd name="connsiteY11" fmla="*/ 82656 h 1679490"/>
                <a:gd name="connsiteX12" fmla="*/ 599806 w 1234440"/>
                <a:gd name="connsiteY12" fmla="*/ 0 h 167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4440" h="1679490">
                  <a:moveTo>
                    <a:pt x="599806" y="0"/>
                  </a:moveTo>
                  <a:lnTo>
                    <a:pt x="602202" y="1792"/>
                  </a:lnTo>
                  <a:cubicBezTo>
                    <a:pt x="988326" y="320449"/>
                    <a:pt x="1234440" y="802695"/>
                    <a:pt x="1234440" y="1342423"/>
                  </a:cubicBezTo>
                  <a:cubicBezTo>
                    <a:pt x="1234440" y="1402393"/>
                    <a:pt x="1231402" y="1461653"/>
                    <a:pt x="1225470" y="1520058"/>
                  </a:cubicBezTo>
                  <a:lnTo>
                    <a:pt x="1219434" y="1559608"/>
                  </a:lnTo>
                  <a:lnTo>
                    <a:pt x="1105299" y="1601382"/>
                  </a:lnTo>
                  <a:cubicBezTo>
                    <a:pt x="942093" y="1652144"/>
                    <a:pt x="768571" y="1679490"/>
                    <a:pt x="588661" y="1679490"/>
                  </a:cubicBezTo>
                  <a:cubicBezTo>
                    <a:pt x="408752" y="1679490"/>
                    <a:pt x="235229" y="1652144"/>
                    <a:pt x="72023" y="1601382"/>
                  </a:cubicBezTo>
                  <a:lnTo>
                    <a:pt x="23440" y="1583601"/>
                  </a:lnTo>
                  <a:lnTo>
                    <a:pt x="8970" y="1488790"/>
                  </a:lnTo>
                  <a:cubicBezTo>
                    <a:pt x="3039" y="1430385"/>
                    <a:pt x="0" y="1371125"/>
                    <a:pt x="0" y="1311155"/>
                  </a:cubicBezTo>
                  <a:cubicBezTo>
                    <a:pt x="0" y="831397"/>
                    <a:pt x="194461" y="397057"/>
                    <a:pt x="508861" y="82656"/>
                  </a:cubicBezTo>
                  <a:lnTo>
                    <a:pt x="599806" y="0"/>
                  </a:lnTo>
                  <a:close/>
                </a:path>
              </a:pathLst>
            </a:custGeom>
            <a:solidFill>
              <a:srgbClr val="003B7D"/>
            </a:solidFill>
            <a:ln w="28575">
              <a:solidFill>
                <a:srgbClr val="FFFFFF"/>
              </a:solidFill>
            </a:ln>
            <a:effectLst/>
          </p:spPr>
          <p:txBody>
            <a:bodyPr wrap="square" rtlCol="0" anchor="b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3B7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23" name="TextBox 61">
            <a:extLst>
              <a:ext uri="{FF2B5EF4-FFF2-40B4-BE49-F238E27FC236}">
                <a16:creationId xmlns:a16="http://schemas.microsoft.com/office/drawing/2014/main" id="{949BF348-97BF-4CB4-9662-FF17F93418BE}"/>
              </a:ext>
            </a:extLst>
          </p:cNvPr>
          <p:cNvSpPr txBox="1"/>
          <p:nvPr/>
        </p:nvSpPr>
        <p:spPr>
          <a:xfrm>
            <a:off x="6730727" y="4230803"/>
            <a:ext cx="1223412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holesale</a:t>
            </a:r>
            <a:b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ores</a:t>
            </a:r>
          </a:p>
        </p:txBody>
      </p:sp>
      <p:sp>
        <p:nvSpPr>
          <p:cNvPr id="24" name="TextBox 62">
            <a:extLst>
              <a:ext uri="{FF2B5EF4-FFF2-40B4-BE49-F238E27FC236}">
                <a16:creationId xmlns:a16="http://schemas.microsoft.com/office/drawing/2014/main" id="{83E02258-59B4-47A8-AAC6-4425C0654D61}"/>
              </a:ext>
            </a:extLst>
          </p:cNvPr>
          <p:cNvSpPr txBox="1"/>
          <p:nvPr/>
        </p:nvSpPr>
        <p:spPr>
          <a:xfrm>
            <a:off x="10217931" y="4335960"/>
            <a:ext cx="588656" cy="31290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SD</a:t>
            </a:r>
          </a:p>
        </p:txBody>
      </p:sp>
      <p:pic>
        <p:nvPicPr>
          <p:cNvPr id="25" name="Picture 63">
            <a:extLst>
              <a:ext uri="{FF2B5EF4-FFF2-40B4-BE49-F238E27FC236}">
                <a16:creationId xmlns:a16="http://schemas.microsoft.com/office/drawing/2014/main" id="{ADC97AC4-F8A2-4AF9-9FBE-9849DB50A4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580094" y="1581505"/>
            <a:ext cx="976711" cy="594520"/>
          </a:xfrm>
          <a:prstGeom prst="rect">
            <a:avLst/>
          </a:prstGeom>
        </p:spPr>
      </p:pic>
      <p:sp>
        <p:nvSpPr>
          <p:cNvPr id="26" name="TextBox 64">
            <a:extLst>
              <a:ext uri="{FF2B5EF4-FFF2-40B4-BE49-F238E27FC236}">
                <a16:creationId xmlns:a16="http://schemas.microsoft.com/office/drawing/2014/main" id="{D3EBBE65-6D14-4BDF-98B0-73CEF59B54A9}"/>
              </a:ext>
            </a:extLst>
          </p:cNvPr>
          <p:cNvSpPr txBox="1"/>
          <p:nvPr/>
        </p:nvSpPr>
        <p:spPr>
          <a:xfrm>
            <a:off x="8494922" y="4754039"/>
            <a:ext cx="1072929" cy="4124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0" cap="none" spc="-3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ut-of-</a:t>
            </a:r>
            <a:br>
              <a:rPr kumimoji="0" lang="de-DE" sz="1300" b="1" i="0" u="none" strike="noStrike" kern="0" cap="none" spc="-3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300" b="1" i="0" u="none" strike="noStrike" kern="0" cap="none" spc="-3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ore</a:t>
            </a:r>
          </a:p>
        </p:txBody>
      </p:sp>
      <p:sp>
        <p:nvSpPr>
          <p:cNvPr id="27" name="TextBox 65">
            <a:extLst>
              <a:ext uri="{FF2B5EF4-FFF2-40B4-BE49-F238E27FC236}">
                <a16:creationId xmlns:a16="http://schemas.microsoft.com/office/drawing/2014/main" id="{49709435-F5C4-449A-A287-BB9A7628973A}"/>
              </a:ext>
            </a:extLst>
          </p:cNvPr>
          <p:cNvSpPr txBox="1"/>
          <p:nvPr/>
        </p:nvSpPr>
        <p:spPr>
          <a:xfrm>
            <a:off x="9536616" y="2987746"/>
            <a:ext cx="1013419" cy="4124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line</a:t>
            </a:r>
            <a:b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dering</a:t>
            </a:r>
          </a:p>
        </p:txBody>
      </p:sp>
      <p:sp>
        <p:nvSpPr>
          <p:cNvPr id="28" name="TextBox 66">
            <a:extLst>
              <a:ext uri="{FF2B5EF4-FFF2-40B4-BE49-F238E27FC236}">
                <a16:creationId xmlns:a16="http://schemas.microsoft.com/office/drawing/2014/main" id="{763BB0BA-B31A-4AAF-917E-1DFA5E57D9CD}"/>
              </a:ext>
            </a:extLst>
          </p:cNvPr>
          <p:cNvSpPr txBox="1"/>
          <p:nvPr/>
        </p:nvSpPr>
        <p:spPr>
          <a:xfrm>
            <a:off x="8370026" y="3664615"/>
            <a:ext cx="1334020" cy="81253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GITAL</a:t>
            </a:r>
            <a:b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LUTIONS</a:t>
            </a:r>
            <a:b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O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USTOMERS</a:t>
            </a:r>
          </a:p>
        </p:txBody>
      </p:sp>
      <p:grpSp>
        <p:nvGrpSpPr>
          <p:cNvPr id="29" name="Group 67">
            <a:extLst>
              <a:ext uri="{FF2B5EF4-FFF2-40B4-BE49-F238E27FC236}">
                <a16:creationId xmlns:a16="http://schemas.microsoft.com/office/drawing/2014/main" id="{9F57F262-EE28-452D-A490-68BE0846EB83}"/>
              </a:ext>
            </a:extLst>
          </p:cNvPr>
          <p:cNvGrpSpPr/>
          <p:nvPr/>
        </p:nvGrpSpPr>
        <p:grpSpPr>
          <a:xfrm>
            <a:off x="9907114" y="4820425"/>
            <a:ext cx="1117345" cy="607296"/>
            <a:chOff x="6884891" y="3283261"/>
            <a:chExt cx="857225" cy="460141"/>
          </a:xfrm>
          <a:solidFill>
            <a:srgbClr val="FFFFFF"/>
          </a:solidFill>
        </p:grpSpPr>
        <p:sp>
          <p:nvSpPr>
            <p:cNvPr id="30" name="Freihandform: Form 104">
              <a:extLst>
                <a:ext uri="{FF2B5EF4-FFF2-40B4-BE49-F238E27FC236}">
                  <a16:creationId xmlns:a16="http://schemas.microsoft.com/office/drawing/2014/main" id="{5C022A3D-DD24-45E6-8009-21AF2D745C5E}"/>
                </a:ext>
              </a:extLst>
            </p:cNvPr>
            <p:cNvSpPr/>
            <p:nvPr/>
          </p:nvSpPr>
          <p:spPr>
            <a:xfrm rot="19078378">
              <a:off x="7034394" y="3623216"/>
              <a:ext cx="147961" cy="120186"/>
            </a:xfrm>
            <a:custGeom>
              <a:avLst/>
              <a:gdLst>
                <a:gd name="connsiteX0" fmla="*/ 147961 w 147961"/>
                <a:gd name="connsiteY0" fmla="*/ 60093 h 120186"/>
                <a:gd name="connsiteX1" fmla="*/ 73981 w 147961"/>
                <a:gd name="connsiteY1" fmla="*/ 120186 h 120186"/>
                <a:gd name="connsiteX2" fmla="*/ 0 w 147961"/>
                <a:gd name="connsiteY2" fmla="*/ 60093 h 120186"/>
                <a:gd name="connsiteX3" fmla="*/ 73981 w 147961"/>
                <a:gd name="connsiteY3" fmla="*/ 0 h 120186"/>
                <a:gd name="connsiteX4" fmla="*/ 147961 w 147961"/>
                <a:gd name="connsiteY4" fmla="*/ 60093 h 120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961" h="120186">
                  <a:moveTo>
                    <a:pt x="147961" y="60093"/>
                  </a:moveTo>
                  <a:cubicBezTo>
                    <a:pt x="147961" y="93282"/>
                    <a:pt x="114839" y="120186"/>
                    <a:pt x="73981" y="120186"/>
                  </a:cubicBezTo>
                  <a:cubicBezTo>
                    <a:pt x="33122" y="120186"/>
                    <a:pt x="0" y="93282"/>
                    <a:pt x="0" y="60093"/>
                  </a:cubicBezTo>
                  <a:cubicBezTo>
                    <a:pt x="0" y="26905"/>
                    <a:pt x="33122" y="0"/>
                    <a:pt x="73981" y="0"/>
                  </a:cubicBezTo>
                  <a:cubicBezTo>
                    <a:pt x="114839" y="0"/>
                    <a:pt x="147961" y="26905"/>
                    <a:pt x="147961" y="600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1" name="Freihandform: Form 105">
              <a:extLst>
                <a:ext uri="{FF2B5EF4-FFF2-40B4-BE49-F238E27FC236}">
                  <a16:creationId xmlns:a16="http://schemas.microsoft.com/office/drawing/2014/main" id="{EA25BA25-EB5B-4815-8FC9-F81279C855B2}"/>
                </a:ext>
              </a:extLst>
            </p:cNvPr>
            <p:cNvSpPr/>
            <p:nvPr/>
          </p:nvSpPr>
          <p:spPr>
            <a:xfrm rot="19078378">
              <a:off x="7506034" y="3623216"/>
              <a:ext cx="147961" cy="120186"/>
            </a:xfrm>
            <a:custGeom>
              <a:avLst/>
              <a:gdLst>
                <a:gd name="connsiteX0" fmla="*/ 147961 w 147961"/>
                <a:gd name="connsiteY0" fmla="*/ 60093 h 120186"/>
                <a:gd name="connsiteX1" fmla="*/ 73981 w 147961"/>
                <a:gd name="connsiteY1" fmla="*/ 120186 h 120186"/>
                <a:gd name="connsiteX2" fmla="*/ 0 w 147961"/>
                <a:gd name="connsiteY2" fmla="*/ 60093 h 120186"/>
                <a:gd name="connsiteX3" fmla="*/ 73981 w 147961"/>
                <a:gd name="connsiteY3" fmla="*/ 0 h 120186"/>
                <a:gd name="connsiteX4" fmla="*/ 147961 w 147961"/>
                <a:gd name="connsiteY4" fmla="*/ 60093 h 120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961" h="120186">
                  <a:moveTo>
                    <a:pt x="147961" y="60093"/>
                  </a:moveTo>
                  <a:cubicBezTo>
                    <a:pt x="147961" y="93282"/>
                    <a:pt x="114839" y="120186"/>
                    <a:pt x="73981" y="120186"/>
                  </a:cubicBezTo>
                  <a:cubicBezTo>
                    <a:pt x="33122" y="120186"/>
                    <a:pt x="0" y="93282"/>
                    <a:pt x="0" y="60093"/>
                  </a:cubicBezTo>
                  <a:cubicBezTo>
                    <a:pt x="0" y="26905"/>
                    <a:pt x="33122" y="0"/>
                    <a:pt x="73981" y="0"/>
                  </a:cubicBezTo>
                  <a:cubicBezTo>
                    <a:pt x="114839" y="0"/>
                    <a:pt x="147961" y="26905"/>
                    <a:pt x="147961" y="6009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2" name="Freihandform: Form 106">
              <a:extLst>
                <a:ext uri="{FF2B5EF4-FFF2-40B4-BE49-F238E27FC236}">
                  <a16:creationId xmlns:a16="http://schemas.microsoft.com/office/drawing/2014/main" id="{DD13DFC1-BC7C-4C21-85BE-4F696E06B883}"/>
                </a:ext>
              </a:extLst>
            </p:cNvPr>
            <p:cNvSpPr/>
            <p:nvPr/>
          </p:nvSpPr>
          <p:spPr>
            <a:xfrm>
              <a:off x="6884891" y="3283261"/>
              <a:ext cx="607018" cy="228600"/>
            </a:xfrm>
            <a:custGeom>
              <a:avLst/>
              <a:gdLst>
                <a:gd name="connsiteX0" fmla="*/ 163944 w 607018"/>
                <a:gd name="connsiteY0" fmla="*/ 0 h 228600"/>
                <a:gd name="connsiteX1" fmla="*/ 150057 w 607018"/>
                <a:gd name="connsiteY1" fmla="*/ 66675 h 228600"/>
                <a:gd name="connsiteX2" fmla="*/ 44053 w 607018"/>
                <a:gd name="connsiteY2" fmla="*/ 66675 h 228600"/>
                <a:gd name="connsiteX3" fmla="*/ 38100 w 607018"/>
                <a:gd name="connsiteY3" fmla="*/ 95250 h 228600"/>
                <a:gd name="connsiteX4" fmla="*/ 144104 w 607018"/>
                <a:gd name="connsiteY4" fmla="*/ 95250 h 228600"/>
                <a:gd name="connsiteX5" fmla="*/ 136169 w 607018"/>
                <a:gd name="connsiteY5" fmla="*/ 133350 h 228600"/>
                <a:gd name="connsiteX6" fmla="*/ 63103 w 607018"/>
                <a:gd name="connsiteY6" fmla="*/ 133350 h 228600"/>
                <a:gd name="connsiteX7" fmla="*/ 57150 w 607018"/>
                <a:gd name="connsiteY7" fmla="*/ 161925 h 228600"/>
                <a:gd name="connsiteX8" fmla="*/ 130216 w 607018"/>
                <a:gd name="connsiteY8" fmla="*/ 161925 h 228600"/>
                <a:gd name="connsiteX9" fmla="*/ 122282 w 607018"/>
                <a:gd name="connsiteY9" fmla="*/ 200025 h 228600"/>
                <a:gd name="connsiteX10" fmla="*/ 5953 w 607018"/>
                <a:gd name="connsiteY10" fmla="*/ 200025 h 228600"/>
                <a:gd name="connsiteX11" fmla="*/ 0 w 607018"/>
                <a:gd name="connsiteY11" fmla="*/ 228600 h 228600"/>
                <a:gd name="connsiteX12" fmla="*/ 116329 w 607018"/>
                <a:gd name="connsiteY12" fmla="*/ 228600 h 228600"/>
                <a:gd name="connsiteX13" fmla="*/ 196453 w 607018"/>
                <a:gd name="connsiteY13" fmla="*/ 228600 h 228600"/>
                <a:gd name="connsiteX14" fmla="*/ 559394 w 607018"/>
                <a:gd name="connsiteY14" fmla="*/ 228600 h 228600"/>
                <a:gd name="connsiteX15" fmla="*/ 607019 w 607018"/>
                <a:gd name="connsiteY15" fmla="*/ 0 h 228600"/>
                <a:gd name="connsiteX16" fmla="*/ 163944 w 607018"/>
                <a:gd name="connsiteY16" fmla="*/ 0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07018" h="228600">
                  <a:moveTo>
                    <a:pt x="163944" y="0"/>
                  </a:moveTo>
                  <a:lnTo>
                    <a:pt x="150057" y="66675"/>
                  </a:lnTo>
                  <a:lnTo>
                    <a:pt x="44053" y="66675"/>
                  </a:lnTo>
                  <a:lnTo>
                    <a:pt x="38100" y="95250"/>
                  </a:lnTo>
                  <a:lnTo>
                    <a:pt x="144104" y="95250"/>
                  </a:lnTo>
                  <a:lnTo>
                    <a:pt x="136169" y="133350"/>
                  </a:lnTo>
                  <a:lnTo>
                    <a:pt x="63103" y="133350"/>
                  </a:lnTo>
                  <a:lnTo>
                    <a:pt x="57150" y="161925"/>
                  </a:lnTo>
                  <a:lnTo>
                    <a:pt x="130216" y="161925"/>
                  </a:lnTo>
                  <a:lnTo>
                    <a:pt x="122282" y="200025"/>
                  </a:lnTo>
                  <a:lnTo>
                    <a:pt x="5953" y="200025"/>
                  </a:lnTo>
                  <a:lnTo>
                    <a:pt x="0" y="228600"/>
                  </a:lnTo>
                  <a:lnTo>
                    <a:pt x="116329" y="228600"/>
                  </a:lnTo>
                  <a:lnTo>
                    <a:pt x="196453" y="228600"/>
                  </a:lnTo>
                  <a:lnTo>
                    <a:pt x="559394" y="228600"/>
                  </a:lnTo>
                  <a:lnTo>
                    <a:pt x="607019" y="0"/>
                  </a:lnTo>
                  <a:lnTo>
                    <a:pt x="163944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3" name="Freihandform: Form 107">
              <a:extLst>
                <a:ext uri="{FF2B5EF4-FFF2-40B4-BE49-F238E27FC236}">
                  <a16:creationId xmlns:a16="http://schemas.microsoft.com/office/drawing/2014/main" id="{C0EE52BF-B008-4664-A98D-B82BB3813E39}"/>
                </a:ext>
              </a:extLst>
            </p:cNvPr>
            <p:cNvSpPr/>
            <p:nvPr/>
          </p:nvSpPr>
          <p:spPr>
            <a:xfrm>
              <a:off x="7446705" y="3340371"/>
              <a:ext cx="295411" cy="342939"/>
            </a:xfrm>
            <a:custGeom>
              <a:avLst/>
              <a:gdLst>
                <a:gd name="connsiteX0" fmla="*/ 285550 w 295411"/>
                <a:gd name="connsiteY0" fmla="*/ 179109 h 342939"/>
                <a:gd name="connsiteX1" fmla="*/ 243011 w 295411"/>
                <a:gd name="connsiteY1" fmla="*/ 141009 h 342939"/>
                <a:gd name="connsiteX2" fmla="*/ 233839 w 295411"/>
                <a:gd name="connsiteY2" fmla="*/ 121007 h 342939"/>
                <a:gd name="connsiteX3" fmla="*/ 228476 w 295411"/>
                <a:gd name="connsiteY3" fmla="*/ 55284 h 342939"/>
                <a:gd name="connsiteX4" fmla="*/ 166688 w 295411"/>
                <a:gd name="connsiteY4" fmla="*/ 39 h 342939"/>
                <a:gd name="connsiteX5" fmla="*/ 71438 w 295411"/>
                <a:gd name="connsiteY5" fmla="*/ 39 h 342939"/>
                <a:gd name="connsiteX6" fmla="*/ 43615 w 295411"/>
                <a:gd name="connsiteY6" fmla="*/ 133389 h 342939"/>
                <a:gd name="connsiteX7" fmla="*/ 31709 w 295411"/>
                <a:gd name="connsiteY7" fmla="*/ 190539 h 342939"/>
                <a:gd name="connsiteX8" fmla="*/ 0 w 295411"/>
                <a:gd name="connsiteY8" fmla="*/ 342939 h 342939"/>
                <a:gd name="connsiteX9" fmla="*/ 38100 w 295411"/>
                <a:gd name="connsiteY9" fmla="*/ 342939 h 342939"/>
                <a:gd name="connsiteX10" fmla="*/ 153191 w 295411"/>
                <a:gd name="connsiteY10" fmla="*/ 247689 h 342939"/>
                <a:gd name="connsiteX11" fmla="*/ 228600 w 295411"/>
                <a:gd name="connsiteY11" fmla="*/ 342939 h 342939"/>
                <a:gd name="connsiteX12" fmla="*/ 274634 w 295411"/>
                <a:gd name="connsiteY12" fmla="*/ 304839 h 342939"/>
                <a:gd name="connsiteX13" fmla="*/ 294484 w 295411"/>
                <a:gd name="connsiteY13" fmla="*/ 209589 h 342939"/>
                <a:gd name="connsiteX14" fmla="*/ 285550 w 295411"/>
                <a:gd name="connsiteY14" fmla="*/ 179109 h 342939"/>
                <a:gd name="connsiteX15" fmla="*/ 81715 w 295411"/>
                <a:gd name="connsiteY15" fmla="*/ 133389 h 342939"/>
                <a:gd name="connsiteX16" fmla="*/ 101556 w 295411"/>
                <a:gd name="connsiteY16" fmla="*/ 38139 h 342939"/>
                <a:gd name="connsiteX17" fmla="*/ 158706 w 295411"/>
                <a:gd name="connsiteY17" fmla="*/ 38139 h 342939"/>
                <a:gd name="connsiteX18" fmla="*/ 189135 w 295411"/>
                <a:gd name="connsiteY18" fmla="*/ 64731 h 342939"/>
                <a:gd name="connsiteX19" fmla="*/ 189186 w 295411"/>
                <a:gd name="connsiteY19" fmla="*/ 65762 h 342939"/>
                <a:gd name="connsiteX20" fmla="*/ 194548 w 295411"/>
                <a:gd name="connsiteY20" fmla="*/ 131484 h 342939"/>
                <a:gd name="connsiteX21" fmla="*/ 195101 w 295411"/>
                <a:gd name="connsiteY21" fmla="*/ 133389 h 342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5411" h="342939">
                  <a:moveTo>
                    <a:pt x="285550" y="179109"/>
                  </a:moveTo>
                  <a:lnTo>
                    <a:pt x="243011" y="141009"/>
                  </a:lnTo>
                  <a:cubicBezTo>
                    <a:pt x="237328" y="135891"/>
                    <a:pt x="234008" y="128653"/>
                    <a:pt x="233839" y="121007"/>
                  </a:cubicBezTo>
                  <a:lnTo>
                    <a:pt x="228476" y="55284"/>
                  </a:lnTo>
                  <a:cubicBezTo>
                    <a:pt x="226043" y="23272"/>
                    <a:pt x="198772" y="-1112"/>
                    <a:pt x="166688" y="39"/>
                  </a:cubicBezTo>
                  <a:lnTo>
                    <a:pt x="71438" y="39"/>
                  </a:lnTo>
                  <a:lnTo>
                    <a:pt x="43615" y="133389"/>
                  </a:lnTo>
                  <a:lnTo>
                    <a:pt x="31709" y="190539"/>
                  </a:lnTo>
                  <a:lnTo>
                    <a:pt x="0" y="342939"/>
                  </a:lnTo>
                  <a:lnTo>
                    <a:pt x="38100" y="342939"/>
                  </a:lnTo>
                  <a:cubicBezTo>
                    <a:pt x="49016" y="290552"/>
                    <a:pt x="100803" y="247689"/>
                    <a:pt x="153191" y="247689"/>
                  </a:cubicBezTo>
                  <a:cubicBezTo>
                    <a:pt x="205578" y="247689"/>
                    <a:pt x="239478" y="290552"/>
                    <a:pt x="228600" y="342939"/>
                  </a:cubicBezTo>
                  <a:cubicBezTo>
                    <a:pt x="250741" y="341969"/>
                    <a:pt x="269541" y="326407"/>
                    <a:pt x="274634" y="304839"/>
                  </a:cubicBezTo>
                  <a:lnTo>
                    <a:pt x="294484" y="209589"/>
                  </a:lnTo>
                  <a:cubicBezTo>
                    <a:pt x="297220" y="198561"/>
                    <a:pt x="293805" y="186915"/>
                    <a:pt x="285550" y="179109"/>
                  </a:cubicBezTo>
                  <a:close/>
                  <a:moveTo>
                    <a:pt x="81715" y="133389"/>
                  </a:moveTo>
                  <a:lnTo>
                    <a:pt x="101556" y="38139"/>
                  </a:lnTo>
                  <a:lnTo>
                    <a:pt x="158706" y="38139"/>
                  </a:lnTo>
                  <a:cubicBezTo>
                    <a:pt x="174451" y="37079"/>
                    <a:pt x="188075" y="48985"/>
                    <a:pt x="189135" y="64731"/>
                  </a:cubicBezTo>
                  <a:cubicBezTo>
                    <a:pt x="189158" y="65074"/>
                    <a:pt x="189175" y="65418"/>
                    <a:pt x="189186" y="65762"/>
                  </a:cubicBezTo>
                  <a:lnTo>
                    <a:pt x="194548" y="131484"/>
                  </a:lnTo>
                  <a:cubicBezTo>
                    <a:pt x="194348" y="132437"/>
                    <a:pt x="195301" y="132437"/>
                    <a:pt x="195101" y="1333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34" name="Freihandform: Form 108">
              <a:extLst>
                <a:ext uri="{FF2B5EF4-FFF2-40B4-BE49-F238E27FC236}">
                  <a16:creationId xmlns:a16="http://schemas.microsoft.com/office/drawing/2014/main" id="{0B4918D2-B2B3-4295-A826-6A902085A8C1}"/>
                </a:ext>
              </a:extLst>
            </p:cNvPr>
            <p:cNvSpPr/>
            <p:nvPr/>
          </p:nvSpPr>
          <p:spPr>
            <a:xfrm>
              <a:off x="6965501" y="3549961"/>
              <a:ext cx="470887" cy="133350"/>
            </a:xfrm>
            <a:custGeom>
              <a:avLst/>
              <a:gdLst>
                <a:gd name="connsiteX0" fmla="*/ 0 w 470887"/>
                <a:gd name="connsiteY0" fmla="*/ 133350 h 133350"/>
                <a:gd name="connsiteX1" fmla="*/ 47625 w 470887"/>
                <a:gd name="connsiteY1" fmla="*/ 133350 h 133350"/>
                <a:gd name="connsiteX2" fmla="*/ 162716 w 470887"/>
                <a:gd name="connsiteY2" fmla="*/ 38100 h 133350"/>
                <a:gd name="connsiteX3" fmla="*/ 238125 w 470887"/>
                <a:gd name="connsiteY3" fmla="*/ 133350 h 133350"/>
                <a:gd name="connsiteX4" fmla="*/ 443103 w 470887"/>
                <a:gd name="connsiteY4" fmla="*/ 133350 h 133350"/>
                <a:gd name="connsiteX5" fmla="*/ 470887 w 470887"/>
                <a:gd name="connsiteY5" fmla="*/ 0 h 133350"/>
                <a:gd name="connsiteX6" fmla="*/ 27813 w 470887"/>
                <a:gd name="connsiteY6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0887" h="133350">
                  <a:moveTo>
                    <a:pt x="0" y="133350"/>
                  </a:moveTo>
                  <a:lnTo>
                    <a:pt x="47625" y="133350"/>
                  </a:lnTo>
                  <a:cubicBezTo>
                    <a:pt x="58541" y="80963"/>
                    <a:pt x="110328" y="38100"/>
                    <a:pt x="162716" y="38100"/>
                  </a:cubicBezTo>
                  <a:cubicBezTo>
                    <a:pt x="215103" y="38100"/>
                    <a:pt x="249041" y="80963"/>
                    <a:pt x="238125" y="133350"/>
                  </a:cubicBezTo>
                  <a:lnTo>
                    <a:pt x="443103" y="133350"/>
                  </a:lnTo>
                  <a:lnTo>
                    <a:pt x="470887" y="0"/>
                  </a:lnTo>
                  <a:lnTo>
                    <a:pt x="27813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35" name="TextBox 74">
            <a:extLst>
              <a:ext uri="{FF2B5EF4-FFF2-40B4-BE49-F238E27FC236}">
                <a16:creationId xmlns:a16="http://schemas.microsoft.com/office/drawing/2014/main" id="{39842B62-B7D3-43C1-93ED-046B6310D76A}"/>
              </a:ext>
            </a:extLst>
          </p:cNvPr>
          <p:cNvSpPr txBox="1"/>
          <p:nvPr/>
        </p:nvSpPr>
        <p:spPr>
          <a:xfrm>
            <a:off x="7539232" y="2969458"/>
            <a:ext cx="1082348" cy="41242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ustomer</a:t>
            </a:r>
            <a:b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pp</a:t>
            </a:r>
          </a:p>
        </p:txBody>
      </p:sp>
      <p:sp>
        <p:nvSpPr>
          <p:cNvPr id="36" name="Rectangle 75">
            <a:extLst>
              <a:ext uri="{FF2B5EF4-FFF2-40B4-BE49-F238E27FC236}">
                <a16:creationId xmlns:a16="http://schemas.microsoft.com/office/drawing/2014/main" id="{44FCDB5B-7D6D-451A-BD6B-62A59615626F}"/>
              </a:ext>
            </a:extLst>
          </p:cNvPr>
          <p:cNvSpPr/>
          <p:nvPr/>
        </p:nvSpPr>
        <p:spPr>
          <a:xfrm>
            <a:off x="7250728" y="1310360"/>
            <a:ext cx="3532632" cy="3227280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9372287"/>
              </a:avLst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 w="0"/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GITAL</a:t>
            </a:r>
          </a:p>
        </p:txBody>
      </p:sp>
      <p:sp>
        <p:nvSpPr>
          <p:cNvPr id="37" name="TextBox 27">
            <a:extLst>
              <a:ext uri="{FF2B5EF4-FFF2-40B4-BE49-F238E27FC236}">
                <a16:creationId xmlns:a16="http://schemas.microsoft.com/office/drawing/2014/main" id="{2B53E9F4-C64C-430D-A0FC-9620150ADA14}"/>
              </a:ext>
            </a:extLst>
          </p:cNvPr>
          <p:cNvSpPr txBox="1"/>
          <p:nvPr/>
        </p:nvSpPr>
        <p:spPr>
          <a:xfrm>
            <a:off x="8358882" y="2280527"/>
            <a:ext cx="1329210" cy="2523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0" cap="none" spc="0" normalizeH="0" baseline="0" noProof="0" dirty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rketplace</a:t>
            </a:r>
          </a:p>
        </p:txBody>
      </p:sp>
      <p:sp>
        <p:nvSpPr>
          <p:cNvPr id="38" name="Freihandform: Form 95">
            <a:extLst>
              <a:ext uri="{FF2B5EF4-FFF2-40B4-BE49-F238E27FC236}">
                <a16:creationId xmlns:a16="http://schemas.microsoft.com/office/drawing/2014/main" id="{6C7E4B1F-CA7D-4022-864A-465B771A99F9}"/>
              </a:ext>
            </a:extLst>
          </p:cNvPr>
          <p:cNvSpPr/>
          <p:nvPr/>
        </p:nvSpPr>
        <p:spPr>
          <a:xfrm>
            <a:off x="6123301" y="2626048"/>
            <a:ext cx="2922829" cy="3410752"/>
          </a:xfrm>
          <a:custGeom>
            <a:avLst/>
            <a:gdLst>
              <a:gd name="connsiteX0" fmla="*/ 1106587 w 2874914"/>
              <a:gd name="connsiteY0" fmla="*/ 0 h 3354838"/>
              <a:gd name="connsiteX1" fmla="*/ 1100551 w 2874914"/>
              <a:gd name="connsiteY1" fmla="*/ 39550 h 3354838"/>
              <a:gd name="connsiteX2" fmla="*/ 1091581 w 2874914"/>
              <a:gd name="connsiteY2" fmla="*/ 217185 h 3354838"/>
              <a:gd name="connsiteX3" fmla="*/ 2152682 w 2874914"/>
              <a:gd name="connsiteY3" fmla="*/ 1818015 h 3354838"/>
              <a:gd name="connsiteX4" fmla="*/ 2263720 w 2874914"/>
              <a:gd name="connsiteY4" fmla="*/ 1858656 h 3354838"/>
              <a:gd name="connsiteX5" fmla="*/ 2275577 w 2874914"/>
              <a:gd name="connsiteY5" fmla="*/ 1936349 h 3354838"/>
              <a:gd name="connsiteX6" fmla="*/ 2872518 w 2874914"/>
              <a:gd name="connsiteY6" fmla="*/ 2926841 h 3354838"/>
              <a:gd name="connsiteX7" fmla="*/ 2874914 w 2874914"/>
              <a:gd name="connsiteY7" fmla="*/ 2928633 h 3354838"/>
              <a:gd name="connsiteX8" fmla="*/ 2842482 w 2874914"/>
              <a:gd name="connsiteY8" fmla="*/ 2958109 h 3354838"/>
              <a:gd name="connsiteX9" fmla="*/ 1737360 w 2874914"/>
              <a:gd name="connsiteY9" fmla="*/ 3354838 h 3354838"/>
              <a:gd name="connsiteX10" fmla="*/ 0 w 2874914"/>
              <a:gd name="connsiteY10" fmla="*/ 1617478 h 3354838"/>
              <a:gd name="connsiteX11" fmla="*/ 1061101 w 2874914"/>
              <a:gd name="connsiteY11" fmla="*/ 16648 h 3354838"/>
              <a:gd name="connsiteX12" fmla="*/ 1106587 w 2874914"/>
              <a:gd name="connsiteY12" fmla="*/ 0 h 335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874914" h="3354838">
                <a:moveTo>
                  <a:pt x="1106587" y="0"/>
                </a:moveTo>
                <a:lnTo>
                  <a:pt x="1100551" y="39550"/>
                </a:lnTo>
                <a:cubicBezTo>
                  <a:pt x="1094619" y="97955"/>
                  <a:pt x="1091581" y="157215"/>
                  <a:pt x="1091581" y="217185"/>
                </a:cubicBezTo>
                <a:cubicBezTo>
                  <a:pt x="1091581" y="936823"/>
                  <a:pt x="1529117" y="1554269"/>
                  <a:pt x="2152682" y="1818015"/>
                </a:cubicBezTo>
                <a:lnTo>
                  <a:pt x="2263720" y="1858656"/>
                </a:lnTo>
                <a:lnTo>
                  <a:pt x="2275577" y="1936349"/>
                </a:lnTo>
                <a:cubicBezTo>
                  <a:pt x="2356578" y="2332191"/>
                  <a:pt x="2572200" y="2678997"/>
                  <a:pt x="2872518" y="2926841"/>
                </a:cubicBezTo>
                <a:lnTo>
                  <a:pt x="2874914" y="2928633"/>
                </a:lnTo>
                <a:lnTo>
                  <a:pt x="2842482" y="2958109"/>
                </a:lnTo>
                <a:cubicBezTo>
                  <a:pt x="2542164" y="3205954"/>
                  <a:pt x="2157148" y="3354838"/>
                  <a:pt x="1737360" y="3354838"/>
                </a:cubicBezTo>
                <a:cubicBezTo>
                  <a:pt x="777843" y="3354838"/>
                  <a:pt x="0" y="2576995"/>
                  <a:pt x="0" y="1617478"/>
                </a:cubicBezTo>
                <a:cubicBezTo>
                  <a:pt x="0" y="897840"/>
                  <a:pt x="437537" y="280394"/>
                  <a:pt x="1061101" y="16648"/>
                </a:cubicBezTo>
                <a:lnTo>
                  <a:pt x="1106587" y="0"/>
                </a:lnTo>
                <a:close/>
              </a:path>
            </a:pathLst>
          </a:custGeom>
          <a:solidFill>
            <a:srgbClr val="0089E3">
              <a:alpha val="50000"/>
            </a:srgbClr>
          </a:solidFill>
          <a:ln w="28575">
            <a:solidFill>
              <a:srgbClr val="FFFFFF"/>
            </a:solidFill>
          </a:ln>
          <a:effectLst/>
        </p:spPr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3B7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39E7D10F-EE2F-4366-91E8-88ED8F2C04B1}"/>
              </a:ext>
            </a:extLst>
          </p:cNvPr>
          <p:cNvSpPr/>
          <p:nvPr/>
        </p:nvSpPr>
        <p:spPr>
          <a:xfrm>
            <a:off x="6872762" y="4789669"/>
            <a:ext cx="1505878" cy="588259"/>
          </a:xfrm>
          <a:custGeom>
            <a:avLst/>
            <a:gdLst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2056446 w 4139565"/>
              <a:gd name="connsiteY4" fmla="*/ 1197984 h 1616393"/>
              <a:gd name="connsiteX5" fmla="*/ 1989772 w 4139565"/>
              <a:gd name="connsiteY5" fmla="*/ 1203772 h 1616393"/>
              <a:gd name="connsiteX6" fmla="*/ 1989772 w 4139565"/>
              <a:gd name="connsiteY6" fmla="*/ 1584090 h 1616393"/>
              <a:gd name="connsiteX7" fmla="*/ 2056446 w 4139565"/>
              <a:gd name="connsiteY7" fmla="*/ 1584223 h 1616393"/>
              <a:gd name="connsiteX8" fmla="*/ 2426447 w 4139565"/>
              <a:gd name="connsiteY8" fmla="*/ 1165863 h 1616393"/>
              <a:gd name="connsiteX9" fmla="*/ 2199321 w 4139565"/>
              <a:gd name="connsiteY9" fmla="*/ 1185581 h 1616393"/>
              <a:gd name="connsiteX10" fmla="*/ 2199321 w 4139565"/>
              <a:gd name="connsiteY10" fmla="*/ 1584507 h 1616393"/>
              <a:gd name="connsiteX11" fmla="*/ 2426970 w 4139565"/>
              <a:gd name="connsiteY11" fmla="*/ 1584960 h 1616393"/>
              <a:gd name="connsiteX12" fmla="*/ 2199321 w 4139565"/>
              <a:gd name="connsiteY12" fmla="*/ 1144667 h 1616393"/>
              <a:gd name="connsiteX13" fmla="*/ 2199321 w 4139565"/>
              <a:gd name="connsiteY13" fmla="*/ 1144667 h 1616393"/>
              <a:gd name="connsiteX14" fmla="*/ 2386186 w 4139565"/>
              <a:gd name="connsiteY14" fmla="*/ 1160551 h 1616393"/>
              <a:gd name="connsiteX15" fmla="*/ 2425065 w 4139565"/>
              <a:gd name="connsiteY15" fmla="*/ 58103 h 1616393"/>
              <a:gd name="connsiteX16" fmla="*/ 34290 w 4139565"/>
              <a:gd name="connsiteY16" fmla="*/ 1084898 h 1616393"/>
              <a:gd name="connsiteX17" fmla="*/ 34290 w 4139565"/>
              <a:gd name="connsiteY17" fmla="*/ 1580198 h 1616393"/>
              <a:gd name="connsiteX18" fmla="*/ 1102994 w 4139565"/>
              <a:gd name="connsiteY18" fmla="*/ 1582325 h 1616393"/>
              <a:gd name="connsiteX19" fmla="*/ 1102994 w 4139565"/>
              <a:gd name="connsiteY19" fmla="*/ 1240156 h 1616393"/>
              <a:gd name="connsiteX20" fmla="*/ 2056446 w 4139565"/>
              <a:gd name="connsiteY20" fmla="*/ 1132523 h 1616393"/>
              <a:gd name="connsiteX21" fmla="*/ 2120328 w 4139565"/>
              <a:gd name="connsiteY21" fmla="*/ 1137953 h 1616393"/>
              <a:gd name="connsiteX22" fmla="*/ 2056447 w 4139565"/>
              <a:gd name="connsiteY22" fmla="*/ 1132523 h 1616393"/>
              <a:gd name="connsiteX23" fmla="*/ 2056447 w 4139565"/>
              <a:gd name="connsiteY23" fmla="*/ 1100138 h 1616393"/>
              <a:gd name="connsiteX24" fmla="*/ 2056446 w 4139565"/>
              <a:gd name="connsiteY24" fmla="*/ 1100138 h 1616393"/>
              <a:gd name="connsiteX25" fmla="*/ 1151572 w 4139565"/>
              <a:gd name="connsiteY25" fmla="*/ 1216343 h 1616393"/>
              <a:gd name="connsiteX26" fmla="*/ 1151572 w 4139565"/>
              <a:gd name="connsiteY26" fmla="*/ 1234441 h 1616393"/>
              <a:gd name="connsiteX27" fmla="*/ 2056011 w 4139565"/>
              <a:gd name="connsiteY27" fmla="*/ 1132572 h 1616393"/>
              <a:gd name="connsiteX28" fmla="*/ 1102994 w 4139565"/>
              <a:gd name="connsiteY28" fmla="*/ 1240156 h 1616393"/>
              <a:gd name="connsiteX29" fmla="*/ 1102994 w 4139565"/>
              <a:gd name="connsiteY29" fmla="*/ 1193483 h 1616393"/>
              <a:gd name="connsiteX30" fmla="*/ 2056446 w 4139565"/>
              <a:gd name="connsiteY30" fmla="*/ 1060133 h 1616393"/>
              <a:gd name="connsiteX31" fmla="*/ 2426351 w 4139565"/>
              <a:gd name="connsiteY31" fmla="*/ 1088800 h 1616393"/>
              <a:gd name="connsiteX32" fmla="*/ 2437446 w 4139565"/>
              <a:gd name="connsiteY32" fmla="*/ 0 h 1616393"/>
              <a:gd name="connsiteX33" fmla="*/ 2437447 w 4139565"/>
              <a:gd name="connsiteY33" fmla="*/ 0 h 1616393"/>
              <a:gd name="connsiteX34" fmla="*/ 2437447 w 4139565"/>
              <a:gd name="connsiteY34" fmla="*/ 1 h 1616393"/>
              <a:gd name="connsiteX35" fmla="*/ 4139564 w 4139565"/>
              <a:gd name="connsiteY35" fmla="*/ 742950 h 1616393"/>
              <a:gd name="connsiteX36" fmla="*/ 4139564 w 4139565"/>
              <a:gd name="connsiteY36" fmla="*/ 1451610 h 1616393"/>
              <a:gd name="connsiteX37" fmla="*/ 4139565 w 4139565"/>
              <a:gd name="connsiteY37" fmla="*/ 1451610 h 1616393"/>
              <a:gd name="connsiteX38" fmla="*/ 4139565 w 4139565"/>
              <a:gd name="connsiteY38" fmla="*/ 1616393 h 1616393"/>
              <a:gd name="connsiteX39" fmla="*/ 0 w 4139565"/>
              <a:gd name="connsiteY39" fmla="*/ 1616393 h 1616393"/>
              <a:gd name="connsiteX40" fmla="*/ 0 w 4139565"/>
              <a:gd name="connsiteY40" fmla="*/ 1451610 h 1616393"/>
              <a:gd name="connsiteX41" fmla="*/ 0 w 4139565"/>
              <a:gd name="connsiteY41" fmla="*/ 1063943 h 1616393"/>
              <a:gd name="connsiteX42" fmla="*/ 2437446 w 4139565"/>
              <a:gd name="connsiteY42" fmla="*/ 1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58103 h 1616393"/>
              <a:gd name="connsiteX20" fmla="*/ 34290 w 4139565"/>
              <a:gd name="connsiteY20" fmla="*/ 1084898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58103 h 1616393"/>
              <a:gd name="connsiteX37" fmla="*/ 2437446 w 4139565"/>
              <a:gd name="connsiteY37" fmla="*/ 0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6 w 4139565"/>
              <a:gd name="connsiteY48" fmla="*/ 0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58103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58103 h 1616393"/>
              <a:gd name="connsiteX37" fmla="*/ 2437446 w 4139565"/>
              <a:gd name="connsiteY37" fmla="*/ 0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6 w 4139565"/>
              <a:gd name="connsiteY48" fmla="*/ 0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6 w 4139565"/>
              <a:gd name="connsiteY37" fmla="*/ 0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6 w 4139565"/>
              <a:gd name="connsiteY48" fmla="*/ 0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89214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7 w 4139565"/>
              <a:gd name="connsiteY48" fmla="*/ 89214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170318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6 w 4139565"/>
              <a:gd name="connsiteY47" fmla="*/ 1 h 1616393"/>
              <a:gd name="connsiteX48" fmla="*/ 2437447 w 4139565"/>
              <a:gd name="connsiteY48" fmla="*/ 170318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170318 h 1616393"/>
              <a:gd name="connsiteX38" fmla="*/ 2437447 w 4139565"/>
              <a:gd name="connsiteY38" fmla="*/ 0 h 1616393"/>
              <a:gd name="connsiteX39" fmla="*/ 2437447 w 4139565"/>
              <a:gd name="connsiteY39" fmla="*/ 1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7 w 4139565"/>
              <a:gd name="connsiteY47" fmla="*/ 121656 h 1616393"/>
              <a:gd name="connsiteX48" fmla="*/ 2437447 w 4139565"/>
              <a:gd name="connsiteY48" fmla="*/ 170318 h 1616393"/>
              <a:gd name="connsiteX0" fmla="*/ 1245869 w 4139565"/>
              <a:gd name="connsiteY0" fmla="*/ 1240156 h 1616393"/>
              <a:gd name="connsiteX1" fmla="*/ 1245869 w 4139565"/>
              <a:gd name="connsiteY1" fmla="*/ 1582609 h 1616393"/>
              <a:gd name="connsiteX2" fmla="*/ 1570672 w 4139565"/>
              <a:gd name="connsiteY2" fmla="*/ 1583256 h 1616393"/>
              <a:gd name="connsiteX3" fmla="*/ 1570672 w 4139565"/>
              <a:gd name="connsiteY3" fmla="*/ 1240156 h 1616393"/>
              <a:gd name="connsiteX4" fmla="*/ 1245869 w 4139565"/>
              <a:gd name="connsiteY4" fmla="*/ 1240156 h 1616393"/>
              <a:gd name="connsiteX5" fmla="*/ 2056446 w 4139565"/>
              <a:gd name="connsiteY5" fmla="*/ 1197984 h 1616393"/>
              <a:gd name="connsiteX6" fmla="*/ 1989772 w 4139565"/>
              <a:gd name="connsiteY6" fmla="*/ 1203772 h 1616393"/>
              <a:gd name="connsiteX7" fmla="*/ 1989772 w 4139565"/>
              <a:gd name="connsiteY7" fmla="*/ 1584090 h 1616393"/>
              <a:gd name="connsiteX8" fmla="*/ 2056446 w 4139565"/>
              <a:gd name="connsiteY8" fmla="*/ 1584223 h 1616393"/>
              <a:gd name="connsiteX9" fmla="*/ 2056446 w 4139565"/>
              <a:gd name="connsiteY9" fmla="*/ 1197984 h 1616393"/>
              <a:gd name="connsiteX10" fmla="*/ 2426447 w 4139565"/>
              <a:gd name="connsiteY10" fmla="*/ 1165863 h 1616393"/>
              <a:gd name="connsiteX11" fmla="*/ 2199321 w 4139565"/>
              <a:gd name="connsiteY11" fmla="*/ 1185581 h 1616393"/>
              <a:gd name="connsiteX12" fmla="*/ 2199321 w 4139565"/>
              <a:gd name="connsiteY12" fmla="*/ 1584507 h 1616393"/>
              <a:gd name="connsiteX13" fmla="*/ 2426970 w 4139565"/>
              <a:gd name="connsiteY13" fmla="*/ 1584960 h 1616393"/>
              <a:gd name="connsiteX14" fmla="*/ 2426447 w 4139565"/>
              <a:gd name="connsiteY14" fmla="*/ 1165863 h 1616393"/>
              <a:gd name="connsiteX15" fmla="*/ 2199321 w 4139565"/>
              <a:gd name="connsiteY15" fmla="*/ 1144667 h 1616393"/>
              <a:gd name="connsiteX16" fmla="*/ 2199321 w 4139565"/>
              <a:gd name="connsiteY16" fmla="*/ 1144667 h 1616393"/>
              <a:gd name="connsiteX17" fmla="*/ 2386186 w 4139565"/>
              <a:gd name="connsiteY17" fmla="*/ 1160551 h 1616393"/>
              <a:gd name="connsiteX18" fmla="*/ 2199321 w 4139565"/>
              <a:gd name="connsiteY18" fmla="*/ 1144667 h 1616393"/>
              <a:gd name="connsiteX19" fmla="*/ 2425065 w 4139565"/>
              <a:gd name="connsiteY19" fmla="*/ 204091 h 1616393"/>
              <a:gd name="connsiteX20" fmla="*/ 34289 w 4139565"/>
              <a:gd name="connsiteY20" fmla="*/ 950505 h 1616393"/>
              <a:gd name="connsiteX21" fmla="*/ 34290 w 4139565"/>
              <a:gd name="connsiteY21" fmla="*/ 1580198 h 1616393"/>
              <a:gd name="connsiteX22" fmla="*/ 1102994 w 4139565"/>
              <a:gd name="connsiteY22" fmla="*/ 1582325 h 1616393"/>
              <a:gd name="connsiteX23" fmla="*/ 1102994 w 4139565"/>
              <a:gd name="connsiteY23" fmla="*/ 1240156 h 1616393"/>
              <a:gd name="connsiteX24" fmla="*/ 2056446 w 4139565"/>
              <a:gd name="connsiteY24" fmla="*/ 1132523 h 1616393"/>
              <a:gd name="connsiteX25" fmla="*/ 2120328 w 4139565"/>
              <a:gd name="connsiteY25" fmla="*/ 1137953 h 1616393"/>
              <a:gd name="connsiteX26" fmla="*/ 2056447 w 4139565"/>
              <a:gd name="connsiteY26" fmla="*/ 1132523 h 1616393"/>
              <a:gd name="connsiteX27" fmla="*/ 2056447 w 4139565"/>
              <a:gd name="connsiteY27" fmla="*/ 1100138 h 1616393"/>
              <a:gd name="connsiteX28" fmla="*/ 2056446 w 4139565"/>
              <a:gd name="connsiteY28" fmla="*/ 1100138 h 1616393"/>
              <a:gd name="connsiteX29" fmla="*/ 1151572 w 4139565"/>
              <a:gd name="connsiteY29" fmla="*/ 1216343 h 1616393"/>
              <a:gd name="connsiteX30" fmla="*/ 1151572 w 4139565"/>
              <a:gd name="connsiteY30" fmla="*/ 1234441 h 1616393"/>
              <a:gd name="connsiteX31" fmla="*/ 2056011 w 4139565"/>
              <a:gd name="connsiteY31" fmla="*/ 1132572 h 1616393"/>
              <a:gd name="connsiteX32" fmla="*/ 1102994 w 4139565"/>
              <a:gd name="connsiteY32" fmla="*/ 1240156 h 1616393"/>
              <a:gd name="connsiteX33" fmla="*/ 1102994 w 4139565"/>
              <a:gd name="connsiteY33" fmla="*/ 1193483 h 1616393"/>
              <a:gd name="connsiteX34" fmla="*/ 2056446 w 4139565"/>
              <a:gd name="connsiteY34" fmla="*/ 1060133 h 1616393"/>
              <a:gd name="connsiteX35" fmla="*/ 2426351 w 4139565"/>
              <a:gd name="connsiteY35" fmla="*/ 1088800 h 1616393"/>
              <a:gd name="connsiteX36" fmla="*/ 2425065 w 4139565"/>
              <a:gd name="connsiteY36" fmla="*/ 204091 h 1616393"/>
              <a:gd name="connsiteX37" fmla="*/ 2437447 w 4139565"/>
              <a:gd name="connsiteY37" fmla="*/ 170318 h 1616393"/>
              <a:gd name="connsiteX38" fmla="*/ 2437447 w 4139565"/>
              <a:gd name="connsiteY38" fmla="*/ 0 h 1616393"/>
              <a:gd name="connsiteX39" fmla="*/ 2437447 w 4139565"/>
              <a:gd name="connsiteY39" fmla="*/ 121656 h 1616393"/>
              <a:gd name="connsiteX40" fmla="*/ 4139564 w 4139565"/>
              <a:gd name="connsiteY40" fmla="*/ 742950 h 1616393"/>
              <a:gd name="connsiteX41" fmla="*/ 4139564 w 4139565"/>
              <a:gd name="connsiteY41" fmla="*/ 1451610 h 1616393"/>
              <a:gd name="connsiteX42" fmla="*/ 4139565 w 4139565"/>
              <a:gd name="connsiteY42" fmla="*/ 1451610 h 1616393"/>
              <a:gd name="connsiteX43" fmla="*/ 4139565 w 4139565"/>
              <a:gd name="connsiteY43" fmla="*/ 1616393 h 1616393"/>
              <a:gd name="connsiteX44" fmla="*/ 0 w 4139565"/>
              <a:gd name="connsiteY44" fmla="*/ 1616393 h 1616393"/>
              <a:gd name="connsiteX45" fmla="*/ 0 w 4139565"/>
              <a:gd name="connsiteY45" fmla="*/ 1451610 h 1616393"/>
              <a:gd name="connsiteX46" fmla="*/ 0 w 4139565"/>
              <a:gd name="connsiteY46" fmla="*/ 926806 h 1616393"/>
              <a:gd name="connsiteX47" fmla="*/ 2437447 w 4139565"/>
              <a:gd name="connsiteY47" fmla="*/ 121656 h 1616393"/>
              <a:gd name="connsiteX48" fmla="*/ 2437447 w 4139565"/>
              <a:gd name="connsiteY48" fmla="*/ 170318 h 1616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139565" h="1616393">
                <a:moveTo>
                  <a:pt x="1245869" y="1240156"/>
                </a:moveTo>
                <a:lnTo>
                  <a:pt x="1245869" y="1582609"/>
                </a:lnTo>
                <a:lnTo>
                  <a:pt x="1570672" y="1583256"/>
                </a:lnTo>
                <a:lnTo>
                  <a:pt x="1570672" y="1240156"/>
                </a:lnTo>
                <a:lnTo>
                  <a:pt x="1245869" y="1240156"/>
                </a:lnTo>
                <a:close/>
                <a:moveTo>
                  <a:pt x="2056446" y="1197984"/>
                </a:moveTo>
                <a:lnTo>
                  <a:pt x="1989772" y="1203772"/>
                </a:lnTo>
                <a:lnTo>
                  <a:pt x="1989772" y="1584090"/>
                </a:lnTo>
                <a:lnTo>
                  <a:pt x="2056446" y="1584223"/>
                </a:lnTo>
                <a:lnTo>
                  <a:pt x="2056446" y="1197984"/>
                </a:lnTo>
                <a:close/>
                <a:moveTo>
                  <a:pt x="2426447" y="1165863"/>
                </a:moveTo>
                <a:lnTo>
                  <a:pt x="2199321" y="1185581"/>
                </a:lnTo>
                <a:lnTo>
                  <a:pt x="2199321" y="1584507"/>
                </a:lnTo>
                <a:lnTo>
                  <a:pt x="2426970" y="1584960"/>
                </a:lnTo>
                <a:cubicBezTo>
                  <a:pt x="2426796" y="1445261"/>
                  <a:pt x="2426621" y="1305562"/>
                  <a:pt x="2426447" y="1165863"/>
                </a:cubicBezTo>
                <a:close/>
                <a:moveTo>
                  <a:pt x="2199321" y="1144667"/>
                </a:moveTo>
                <a:lnTo>
                  <a:pt x="2199321" y="1144667"/>
                </a:lnTo>
                <a:lnTo>
                  <a:pt x="2386186" y="1160551"/>
                </a:lnTo>
                <a:lnTo>
                  <a:pt x="2199321" y="1144667"/>
                </a:lnTo>
                <a:close/>
                <a:moveTo>
                  <a:pt x="2425065" y="204091"/>
                </a:moveTo>
                <a:lnTo>
                  <a:pt x="34289" y="950505"/>
                </a:lnTo>
                <a:cubicBezTo>
                  <a:pt x="34289" y="1160403"/>
                  <a:pt x="34290" y="1370300"/>
                  <a:pt x="34290" y="1580198"/>
                </a:cubicBezTo>
                <a:lnTo>
                  <a:pt x="1102994" y="1582325"/>
                </a:lnTo>
                <a:lnTo>
                  <a:pt x="1102994" y="1240156"/>
                </a:lnTo>
                <a:lnTo>
                  <a:pt x="2056446" y="1132523"/>
                </a:lnTo>
                <a:lnTo>
                  <a:pt x="2120328" y="1137953"/>
                </a:lnTo>
                <a:lnTo>
                  <a:pt x="2056447" y="1132523"/>
                </a:lnTo>
                <a:lnTo>
                  <a:pt x="2056447" y="1100138"/>
                </a:lnTo>
                <a:lnTo>
                  <a:pt x="2056446" y="1100138"/>
                </a:lnTo>
                <a:lnTo>
                  <a:pt x="1151572" y="1216343"/>
                </a:lnTo>
                <a:lnTo>
                  <a:pt x="1151572" y="1234441"/>
                </a:lnTo>
                <a:lnTo>
                  <a:pt x="2056011" y="1132572"/>
                </a:lnTo>
                <a:lnTo>
                  <a:pt x="1102994" y="1240156"/>
                </a:lnTo>
                <a:lnTo>
                  <a:pt x="1102994" y="1193483"/>
                </a:lnTo>
                <a:lnTo>
                  <a:pt x="2056446" y="1060133"/>
                </a:lnTo>
                <a:lnTo>
                  <a:pt x="2426351" y="1088800"/>
                </a:lnTo>
                <a:cubicBezTo>
                  <a:pt x="2425922" y="745234"/>
                  <a:pt x="2425494" y="547657"/>
                  <a:pt x="2425065" y="204091"/>
                </a:cubicBezTo>
                <a:close/>
                <a:moveTo>
                  <a:pt x="2437447" y="170318"/>
                </a:moveTo>
                <a:lnTo>
                  <a:pt x="2437447" y="0"/>
                </a:lnTo>
                <a:lnTo>
                  <a:pt x="2437447" y="121656"/>
                </a:lnTo>
                <a:lnTo>
                  <a:pt x="4139564" y="742950"/>
                </a:lnTo>
                <a:lnTo>
                  <a:pt x="4139564" y="1451610"/>
                </a:lnTo>
                <a:lnTo>
                  <a:pt x="4139565" y="1451610"/>
                </a:lnTo>
                <a:lnTo>
                  <a:pt x="4139565" y="1616393"/>
                </a:lnTo>
                <a:lnTo>
                  <a:pt x="0" y="1616393"/>
                </a:lnTo>
                <a:lnTo>
                  <a:pt x="0" y="1451610"/>
                </a:lnTo>
                <a:lnTo>
                  <a:pt x="0" y="926806"/>
                </a:lnTo>
                <a:lnTo>
                  <a:pt x="2437447" y="121656"/>
                </a:lnTo>
                <a:lnTo>
                  <a:pt x="2437447" y="17031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0" name="object 4">
            <a:extLst>
              <a:ext uri="{FF2B5EF4-FFF2-40B4-BE49-F238E27FC236}">
                <a16:creationId xmlns:a16="http://schemas.microsoft.com/office/drawing/2014/main" id="{51E28B81-4652-4396-89B5-720DD465A60B}"/>
              </a:ext>
            </a:extLst>
          </p:cNvPr>
          <p:cNvSpPr txBox="1"/>
          <p:nvPr/>
        </p:nvSpPr>
        <p:spPr>
          <a:xfrm>
            <a:off x="525637" y="1025166"/>
            <a:ext cx="7459345" cy="62966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lang="de-DE" sz="4000" b="1" spc="10" dirty="0">
                <a:solidFill>
                  <a:srgbClr val="F7AD00"/>
                </a:solidFill>
                <a:latin typeface="Verdana"/>
                <a:cs typeface="Verdana"/>
              </a:rPr>
              <a:t>WHOLESALER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9228C2B-0232-48C4-BEF7-4B1C72864B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1529"/>
          <a:stretch/>
        </p:blipFill>
        <p:spPr>
          <a:xfrm>
            <a:off x="322553" y="3664198"/>
            <a:ext cx="4646770" cy="2312453"/>
          </a:xfrm>
          <a:prstGeom prst="rect">
            <a:avLst/>
          </a:prstGeom>
        </p:spPr>
      </p:pic>
      <p:grpSp>
        <p:nvGrpSpPr>
          <p:cNvPr id="6" name="Grafik 15">
            <a:extLst>
              <a:ext uri="{FF2B5EF4-FFF2-40B4-BE49-F238E27FC236}">
                <a16:creationId xmlns:a16="http://schemas.microsoft.com/office/drawing/2014/main" id="{B5F8E95E-7E85-CD7C-9009-BA2DCFDE9193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7" name="Grafik 15">
              <a:extLst>
                <a:ext uri="{FF2B5EF4-FFF2-40B4-BE49-F238E27FC236}">
                  <a16:creationId xmlns:a16="http://schemas.microsoft.com/office/drawing/2014/main" id="{71E4792F-8FE8-8B58-73EF-5D823C3EA140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42" name="Freihandform 37">
                <a:extLst>
                  <a:ext uri="{FF2B5EF4-FFF2-40B4-BE49-F238E27FC236}">
                    <a16:creationId xmlns:a16="http://schemas.microsoft.com/office/drawing/2014/main" id="{BA4DE47E-2550-457B-09CD-9D1E9A2B8F61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3" name="Freihandform 38">
                <a:extLst>
                  <a:ext uri="{FF2B5EF4-FFF2-40B4-BE49-F238E27FC236}">
                    <a16:creationId xmlns:a16="http://schemas.microsoft.com/office/drawing/2014/main" id="{AB77F4B3-6031-C5F3-C815-5F43A48BD58A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4" name="Freihandform 39">
                <a:extLst>
                  <a:ext uri="{FF2B5EF4-FFF2-40B4-BE49-F238E27FC236}">
                    <a16:creationId xmlns:a16="http://schemas.microsoft.com/office/drawing/2014/main" id="{372927B7-88E4-55B1-79EC-A707640AA68B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5" name="Freihandform 40">
                <a:extLst>
                  <a:ext uri="{FF2B5EF4-FFF2-40B4-BE49-F238E27FC236}">
                    <a16:creationId xmlns:a16="http://schemas.microsoft.com/office/drawing/2014/main" id="{5B6D1D2B-1FD5-B02D-B59D-F3B1CA8DED70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6" name="Freihandform 41">
                <a:extLst>
                  <a:ext uri="{FF2B5EF4-FFF2-40B4-BE49-F238E27FC236}">
                    <a16:creationId xmlns:a16="http://schemas.microsoft.com/office/drawing/2014/main" id="{B751E98E-4B6E-71EE-6195-EF5A7CDF7FE5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" name="Grafik 15">
              <a:extLst>
                <a:ext uri="{FF2B5EF4-FFF2-40B4-BE49-F238E27FC236}">
                  <a16:creationId xmlns:a16="http://schemas.microsoft.com/office/drawing/2014/main" id="{A2F44727-D14D-3372-D9AB-5EF8E206B086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4" name="Freihandform 35">
                <a:extLst>
                  <a:ext uri="{FF2B5EF4-FFF2-40B4-BE49-F238E27FC236}">
                    <a16:creationId xmlns:a16="http://schemas.microsoft.com/office/drawing/2014/main" id="{49522A96-50BB-D7E1-5DB9-34EAA7A5A0F6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 36">
                <a:extLst>
                  <a:ext uri="{FF2B5EF4-FFF2-40B4-BE49-F238E27FC236}">
                    <a16:creationId xmlns:a16="http://schemas.microsoft.com/office/drawing/2014/main" id="{BDCEFEA1-41B0-1141-53A8-7B61E7B9A279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" name="Grafik 15">
              <a:extLst>
                <a:ext uri="{FF2B5EF4-FFF2-40B4-BE49-F238E27FC236}">
                  <a16:creationId xmlns:a16="http://schemas.microsoft.com/office/drawing/2014/main" id="{34DAC63C-23D8-789E-D169-E3131E7D739A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0" name="Freihandform 31">
                <a:extLst>
                  <a:ext uri="{FF2B5EF4-FFF2-40B4-BE49-F238E27FC236}">
                    <a16:creationId xmlns:a16="http://schemas.microsoft.com/office/drawing/2014/main" id="{1C9AA101-B978-2517-A9B8-F08C3D6EF119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" name="Freihandform 32">
                <a:extLst>
                  <a:ext uri="{FF2B5EF4-FFF2-40B4-BE49-F238E27FC236}">
                    <a16:creationId xmlns:a16="http://schemas.microsoft.com/office/drawing/2014/main" id="{22BF6693-EC32-6433-199A-624B56CAA0CA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" name="Freihandform 33">
                <a:extLst>
                  <a:ext uri="{FF2B5EF4-FFF2-40B4-BE49-F238E27FC236}">
                    <a16:creationId xmlns:a16="http://schemas.microsoft.com/office/drawing/2014/main" id="{88C57A37-EE90-0D57-86BA-70A4AAE7DCB9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" name="Freihandform 34">
                <a:extLst>
                  <a:ext uri="{FF2B5EF4-FFF2-40B4-BE49-F238E27FC236}">
                    <a16:creationId xmlns:a16="http://schemas.microsoft.com/office/drawing/2014/main" id="{B8FF0C08-C49C-80C6-29EC-81AB0DAE264D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363010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5F95D35-8AD4-1E54-E6F7-D93B9F393B4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marL="12700">
              <a:spcBef>
                <a:spcPts val="100"/>
              </a:spcBef>
            </a:pPr>
            <a:r>
              <a:rPr lang="de-DE" spc="-5" dirty="0"/>
              <a:t>Date</a:t>
            </a:r>
            <a:endParaRPr lang="en-US" spc="-5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A53FF82-F83D-0B7A-8E5E-8D2996070DB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100"/>
              </a:spcBef>
            </a:pPr>
            <a:fld id="{81D60167-4931-47E6-BA6A-407CBD079E47}" type="slidenum">
              <a:rPr lang="en-US" noProof="0" smtClean="0"/>
              <a:t>3</a:t>
            </a:fld>
            <a:endParaRPr lang="en-US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8F0F074-6FA1-7C1D-5CB8-897D975E2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3631" y="-1"/>
            <a:ext cx="9478370" cy="621655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433834F-1822-A01A-885F-A52E02D2F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5926"/>
            <a:ext cx="4405373" cy="590349"/>
          </a:xfrm>
        </p:spPr>
        <p:txBody>
          <a:bodyPr/>
          <a:lstStyle/>
          <a:p>
            <a:r>
              <a:rPr lang="en-US" sz="4000" dirty="0"/>
              <a:t>Trusted</a:t>
            </a:r>
            <a:r>
              <a:rPr lang="de-DE" sz="4000" dirty="0"/>
              <a:t> Data ?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F4475A1-CAEE-B6B7-D851-AB4E6831B2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869"/>
          <a:stretch/>
        </p:blipFill>
        <p:spPr>
          <a:xfrm>
            <a:off x="1163638" y="1291006"/>
            <a:ext cx="2508611" cy="2363186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D7D34789-9653-9222-75C9-CED07FB96BE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8005"/>
          <a:stretch/>
        </p:blipFill>
        <p:spPr>
          <a:xfrm>
            <a:off x="2920840" y="3514822"/>
            <a:ext cx="4169172" cy="2355261"/>
          </a:xfrm>
          <a:prstGeom prst="rect">
            <a:avLst/>
          </a:prstGeom>
        </p:spPr>
      </p:pic>
      <p:pic>
        <p:nvPicPr>
          <p:cNvPr id="1028" name="Picture 4" descr="Among professionals - MPULSE">
            <a:extLst>
              <a:ext uri="{FF2B5EF4-FFF2-40B4-BE49-F238E27FC236}">
                <a16:creationId xmlns:a16="http://schemas.microsoft.com/office/drawing/2014/main" id="{1AA32DCB-D41A-32FB-2BEE-707AF59039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97" b="10150"/>
          <a:stretch/>
        </p:blipFill>
        <p:spPr bwMode="auto">
          <a:xfrm>
            <a:off x="371475" y="3935897"/>
            <a:ext cx="2733024" cy="2363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2796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A517AB-E2E4-40CA-ACAB-F0A2A23F3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455175"/>
            <a:ext cx="7912744" cy="590349"/>
          </a:xfrm>
        </p:spPr>
        <p:txBody>
          <a:bodyPr/>
          <a:lstStyle/>
          <a:p>
            <a:r>
              <a:rPr lang="de-DE" sz="4000" dirty="0"/>
              <a:t>Metro GS1 global </a:t>
            </a:r>
            <a:r>
              <a:rPr lang="en-US" sz="4000" dirty="0"/>
              <a:t>prioritie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55F70F-6588-4876-A514-5C48356B5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5CE54B-C29A-4A25-9174-59FEA10EAC97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826F550-C1C7-48C4-B944-68F38FEDF957}"/>
              </a:ext>
            </a:extLst>
          </p:cNvPr>
          <p:cNvSpPr txBox="1"/>
          <p:nvPr/>
        </p:nvSpPr>
        <p:spPr>
          <a:xfrm>
            <a:off x="537331" y="1468558"/>
            <a:ext cx="509907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TI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biquity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loball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niqu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dentifie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on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very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radi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duc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rified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y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GS1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duc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rific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lobal Data Model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mnichannel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oduc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ste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et across all marke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	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7E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D Retail Sunrise 2027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„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ne barcode for all”</a:t>
            </a: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BA0CA64-902C-4910-85E6-81731F91B0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1786" y="2454765"/>
            <a:ext cx="7396847" cy="3654307"/>
          </a:xfrm>
          <a:prstGeom prst="rect">
            <a:avLst/>
          </a:prstGeom>
        </p:spPr>
      </p:pic>
      <p:grpSp>
        <p:nvGrpSpPr>
          <p:cNvPr id="3" name="Grafik 15">
            <a:extLst>
              <a:ext uri="{FF2B5EF4-FFF2-40B4-BE49-F238E27FC236}">
                <a16:creationId xmlns:a16="http://schemas.microsoft.com/office/drawing/2014/main" id="{8EEFE858-9BAA-6DA1-7A32-CC4AC5875A7C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22" name="Grafik 15">
              <a:extLst>
                <a:ext uri="{FF2B5EF4-FFF2-40B4-BE49-F238E27FC236}">
                  <a16:creationId xmlns:a16="http://schemas.microsoft.com/office/drawing/2014/main" id="{C8D8AE4B-2E96-2FD6-C352-B037BF82DB8A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31" name="Freihandform 37">
                <a:extLst>
                  <a:ext uri="{FF2B5EF4-FFF2-40B4-BE49-F238E27FC236}">
                    <a16:creationId xmlns:a16="http://schemas.microsoft.com/office/drawing/2014/main" id="{82D48E1A-C039-DD80-A444-4BACBC81205A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2" name="Freihandform 38">
                <a:extLst>
                  <a:ext uri="{FF2B5EF4-FFF2-40B4-BE49-F238E27FC236}">
                    <a16:creationId xmlns:a16="http://schemas.microsoft.com/office/drawing/2014/main" id="{A8191FFB-13CD-C32E-B096-D9526995F2BE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3" name="Freihandform 39">
                <a:extLst>
                  <a:ext uri="{FF2B5EF4-FFF2-40B4-BE49-F238E27FC236}">
                    <a16:creationId xmlns:a16="http://schemas.microsoft.com/office/drawing/2014/main" id="{7A1A6CB5-73C0-1BDE-FB1D-89BE8BFEB77D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4" name="Freihandform 40">
                <a:extLst>
                  <a:ext uri="{FF2B5EF4-FFF2-40B4-BE49-F238E27FC236}">
                    <a16:creationId xmlns:a16="http://schemas.microsoft.com/office/drawing/2014/main" id="{0CE7C702-95F1-2B0D-84E5-4C38DCADDA55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5" name="Freihandform 41">
                <a:extLst>
                  <a:ext uri="{FF2B5EF4-FFF2-40B4-BE49-F238E27FC236}">
                    <a16:creationId xmlns:a16="http://schemas.microsoft.com/office/drawing/2014/main" id="{6236F784-BF31-008B-FFCB-8AC32B984EC9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3" name="Grafik 15">
              <a:extLst>
                <a:ext uri="{FF2B5EF4-FFF2-40B4-BE49-F238E27FC236}">
                  <a16:creationId xmlns:a16="http://schemas.microsoft.com/office/drawing/2014/main" id="{42D276F0-C748-39E6-EE7B-E7A72D9D61FF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9" name="Freihandform 35">
                <a:extLst>
                  <a:ext uri="{FF2B5EF4-FFF2-40B4-BE49-F238E27FC236}">
                    <a16:creationId xmlns:a16="http://schemas.microsoft.com/office/drawing/2014/main" id="{B8FC6881-C7E5-8161-F07C-62A49AF0BFB5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30" name="Freihandform 36">
                <a:extLst>
                  <a:ext uri="{FF2B5EF4-FFF2-40B4-BE49-F238E27FC236}">
                    <a16:creationId xmlns:a16="http://schemas.microsoft.com/office/drawing/2014/main" id="{F4C65930-F447-ABA6-3920-8595333DCEA2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24" name="Grafik 15">
              <a:extLst>
                <a:ext uri="{FF2B5EF4-FFF2-40B4-BE49-F238E27FC236}">
                  <a16:creationId xmlns:a16="http://schemas.microsoft.com/office/drawing/2014/main" id="{32A17264-38B3-F2F7-7D3C-ACA58B179811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25" name="Freihandform 31">
                <a:extLst>
                  <a:ext uri="{FF2B5EF4-FFF2-40B4-BE49-F238E27FC236}">
                    <a16:creationId xmlns:a16="http://schemas.microsoft.com/office/drawing/2014/main" id="{EDA2CE64-8B86-F031-9BDF-FE289BB307D6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Freihandform 32">
                <a:extLst>
                  <a:ext uri="{FF2B5EF4-FFF2-40B4-BE49-F238E27FC236}">
                    <a16:creationId xmlns:a16="http://schemas.microsoft.com/office/drawing/2014/main" id="{FA55E2D2-AEE9-F8B6-AD9D-061362175CF4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Freihandform 33">
                <a:extLst>
                  <a:ext uri="{FF2B5EF4-FFF2-40B4-BE49-F238E27FC236}">
                    <a16:creationId xmlns:a16="http://schemas.microsoft.com/office/drawing/2014/main" id="{4C0B75F9-3800-0729-11E5-AD978425CC0F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Freihandform 34">
                <a:extLst>
                  <a:ext uri="{FF2B5EF4-FFF2-40B4-BE49-F238E27FC236}">
                    <a16:creationId xmlns:a16="http://schemas.microsoft.com/office/drawing/2014/main" id="{617953EE-4F69-E315-BC4E-76814AEB2EB1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9295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6"/>
          <p:cNvSpPr txBox="1"/>
          <p:nvPr/>
        </p:nvSpPr>
        <p:spPr>
          <a:xfrm>
            <a:off x="767408" y="1437943"/>
            <a:ext cx="8856984" cy="48012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Value: E2E transparency 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	(traceability, regulatory, sustainability)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	Identifier is everything!!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	Global product identity relies on unique identification </a:t>
            </a:r>
            <a:endParaRPr dirty="0"/>
          </a:p>
          <a:p>
            <a:pPr marL="571500" marR="0" lvl="0" indent="-3937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1200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Char char="•"/>
            </a:pP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Respect GTIN </a:t>
            </a:r>
            <a:b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Management Standard </a:t>
            </a: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Char char="•"/>
            </a:pPr>
            <a:endParaRPr lang="en-US" sz="1200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571500" marR="0" lvl="0" indent="-571500" algn="l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Char char="•"/>
            </a:pPr>
            <a:r>
              <a:rPr lang="en-US" sz="2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Quality of GTINs usage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	Internal numbering vs GTIN is just an attribute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3200" dirty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Challenges: Rules not clear / respected </a:t>
            </a:r>
            <a:br>
              <a:rPr lang="en-US" sz="24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24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	         reasons for not  changing GTINs </a:t>
            </a:r>
            <a:r>
              <a:rPr lang="en-US" sz="1800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(listing fees, operational hurdles)</a:t>
            </a:r>
            <a:endParaRPr dirty="0"/>
          </a:p>
        </p:txBody>
      </p:sp>
      <p:pic>
        <p:nvPicPr>
          <p:cNvPr id="125" name="Google Shape;125;p6"/>
          <p:cNvPicPr preferRelativeResize="0"/>
          <p:nvPr/>
        </p:nvPicPr>
        <p:blipFill rotWithShape="1">
          <a:blip r:embed="rId3">
            <a:alphaModFix/>
          </a:blip>
          <a:srcRect l="38928" t="47292" r="24143" b="35111"/>
          <a:stretch/>
        </p:blipFill>
        <p:spPr>
          <a:xfrm>
            <a:off x="6806572" y="3534194"/>
            <a:ext cx="5206536" cy="13955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" name="Google Shape;127;p6" descr="GS1UK | The GS1 GTIN – more than just a number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248128" y="1604914"/>
            <a:ext cx="4323424" cy="149341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6BA7BEB-28C3-858C-49A7-3559CD1187D7}"/>
              </a:ext>
            </a:extLst>
          </p:cNvPr>
          <p:cNvSpPr txBox="1">
            <a:spLocks/>
          </p:cNvSpPr>
          <p:nvPr/>
        </p:nvSpPr>
        <p:spPr>
          <a:xfrm>
            <a:off x="371475" y="473351"/>
            <a:ext cx="4073231" cy="553998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50" b="1" i="0" kern="1200">
                <a:solidFill>
                  <a:srgbClr val="F7AD00"/>
                </a:solidFill>
                <a:latin typeface="Verdana"/>
                <a:ea typeface="Verdana" panose="020B0604030504040204" pitchFamily="34" charset="0"/>
                <a:cs typeface="Verdana"/>
              </a:defRPr>
            </a:lvl1pPr>
          </a:lstStyle>
          <a:p>
            <a:r>
              <a:rPr lang="de-DE" sz="4000" dirty="0"/>
              <a:t>GTIN </a:t>
            </a:r>
            <a:r>
              <a:rPr lang="en-US" sz="4000" dirty="0"/>
              <a:t>Ubiquity</a:t>
            </a:r>
          </a:p>
        </p:txBody>
      </p:sp>
      <p:grpSp>
        <p:nvGrpSpPr>
          <p:cNvPr id="5" name="Grafik 15">
            <a:extLst>
              <a:ext uri="{FF2B5EF4-FFF2-40B4-BE49-F238E27FC236}">
                <a16:creationId xmlns:a16="http://schemas.microsoft.com/office/drawing/2014/main" id="{090B0E2A-47BF-625A-A564-0680EA03A2A9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6" name="Grafik 15">
              <a:extLst>
                <a:ext uri="{FF2B5EF4-FFF2-40B4-BE49-F238E27FC236}">
                  <a16:creationId xmlns:a16="http://schemas.microsoft.com/office/drawing/2014/main" id="{27765ED6-E95C-0C36-999F-C53A9D42EE74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5" name="Freihandform 37">
                <a:extLst>
                  <a:ext uri="{FF2B5EF4-FFF2-40B4-BE49-F238E27FC236}">
                    <a16:creationId xmlns:a16="http://schemas.microsoft.com/office/drawing/2014/main" id="{D372A43F-0FFF-46FB-D021-1136F4B7391C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 38">
                <a:extLst>
                  <a:ext uri="{FF2B5EF4-FFF2-40B4-BE49-F238E27FC236}">
                    <a16:creationId xmlns:a16="http://schemas.microsoft.com/office/drawing/2014/main" id="{E0950ABD-6D08-A1FF-D2B6-48891B5FC776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7" name="Freihandform 39">
                <a:extLst>
                  <a:ext uri="{FF2B5EF4-FFF2-40B4-BE49-F238E27FC236}">
                    <a16:creationId xmlns:a16="http://schemas.microsoft.com/office/drawing/2014/main" id="{7E2D3484-9417-99D8-1617-07138CA444AF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" name="Freihandform 40">
                <a:extLst>
                  <a:ext uri="{FF2B5EF4-FFF2-40B4-BE49-F238E27FC236}">
                    <a16:creationId xmlns:a16="http://schemas.microsoft.com/office/drawing/2014/main" id="{B2907FD9-4EA7-FEA7-5F5F-B8876CA3295B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41">
                <a:extLst>
                  <a:ext uri="{FF2B5EF4-FFF2-40B4-BE49-F238E27FC236}">
                    <a16:creationId xmlns:a16="http://schemas.microsoft.com/office/drawing/2014/main" id="{3F331D97-F8B6-89EF-FC6E-AE3B9EEAACE8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7" name="Grafik 15">
              <a:extLst>
                <a:ext uri="{FF2B5EF4-FFF2-40B4-BE49-F238E27FC236}">
                  <a16:creationId xmlns:a16="http://schemas.microsoft.com/office/drawing/2014/main" id="{91F271C5-5DE2-DBF4-35BB-DFB18663462B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3" name="Freihandform 35">
                <a:extLst>
                  <a:ext uri="{FF2B5EF4-FFF2-40B4-BE49-F238E27FC236}">
                    <a16:creationId xmlns:a16="http://schemas.microsoft.com/office/drawing/2014/main" id="{2E0EB940-A054-6717-FE02-F6F4E27A2C8A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4" name="Freihandform 36">
                <a:extLst>
                  <a:ext uri="{FF2B5EF4-FFF2-40B4-BE49-F238E27FC236}">
                    <a16:creationId xmlns:a16="http://schemas.microsoft.com/office/drawing/2014/main" id="{3A07900F-427D-895B-88F5-737057E0FE5E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8" name="Grafik 15">
              <a:extLst>
                <a:ext uri="{FF2B5EF4-FFF2-40B4-BE49-F238E27FC236}">
                  <a16:creationId xmlns:a16="http://schemas.microsoft.com/office/drawing/2014/main" id="{8996C615-8FC6-8AC1-2DBD-EF070B280569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9" name="Freihandform 31">
                <a:extLst>
                  <a:ext uri="{FF2B5EF4-FFF2-40B4-BE49-F238E27FC236}">
                    <a16:creationId xmlns:a16="http://schemas.microsoft.com/office/drawing/2014/main" id="{F79DDC62-A1C7-87FF-E9AD-A3BF9F428AE5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" name="Freihandform 32">
                <a:extLst>
                  <a:ext uri="{FF2B5EF4-FFF2-40B4-BE49-F238E27FC236}">
                    <a16:creationId xmlns:a16="http://schemas.microsoft.com/office/drawing/2014/main" id="{3B5C126F-6A7C-CE6A-F4E4-8D205D90535A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1" name="Freihandform 33">
                <a:extLst>
                  <a:ext uri="{FF2B5EF4-FFF2-40B4-BE49-F238E27FC236}">
                    <a16:creationId xmlns:a16="http://schemas.microsoft.com/office/drawing/2014/main" id="{FA56CB90-CD1D-62A8-1BC6-9075420B6C3A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" name="Freihandform 34">
                <a:extLst>
                  <a:ext uri="{FF2B5EF4-FFF2-40B4-BE49-F238E27FC236}">
                    <a16:creationId xmlns:a16="http://schemas.microsoft.com/office/drawing/2014/main" id="{D11174AE-0D4B-0D4E-9B1C-C12FA98F0234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77AC55F-5588-44C8-A447-E9281EB9137F}"/>
              </a:ext>
            </a:extLst>
          </p:cNvPr>
          <p:cNvSpPr/>
          <p:nvPr/>
        </p:nvSpPr>
        <p:spPr>
          <a:xfrm>
            <a:off x="0" y="1"/>
            <a:ext cx="12192000" cy="6066737"/>
          </a:xfrm>
          <a:prstGeom prst="rect">
            <a:avLst/>
          </a:prstGeom>
          <a:solidFill>
            <a:srgbClr val="FBB034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89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A0D7F8-C0E1-3A40-A053-2CC63D8674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704"/>
            <a:ext cx="5954152" cy="6060663"/>
          </a:xfrm>
          <a:prstGeom prst="rect">
            <a:avLst/>
          </a:prstGeom>
        </p:spPr>
      </p:pic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BB6EDD38-C891-4EE8-AB97-15518CD6596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62008">
            <a:off x="780426" y="1252530"/>
            <a:ext cx="4550809" cy="3206541"/>
          </a:xfrm>
          <a:prstGeom prst="rect">
            <a:avLst/>
          </a:prstGeom>
          <a:effectLst>
            <a:outerShdw dist="38100" dir="2700000" algn="tl" rotWithShape="0">
              <a:srgbClr val="002C6C"/>
            </a:outerShdw>
          </a:effectLst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680F2F-5DD1-4043-9AC2-E33CA1D2A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121904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1219043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D3181-FA73-A74A-8392-670BAFD0B1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19680" y="1557747"/>
            <a:ext cx="6106792" cy="3219995"/>
          </a:xfrm>
        </p:spPr>
        <p:txBody>
          <a:bodyPr/>
          <a:lstStyle/>
          <a:p>
            <a:pPr>
              <a:spcBef>
                <a:spcPts val="1600"/>
              </a:spcBef>
              <a:spcAft>
                <a:spcPts val="0"/>
              </a:spcAft>
            </a:pPr>
            <a:r>
              <a:rPr lang="en-US" sz="4000" dirty="0"/>
              <a:t>Trust and efficiency start with a valid ID.</a:t>
            </a:r>
          </a:p>
          <a:p>
            <a:pPr>
              <a:spcBef>
                <a:spcPts val="3200"/>
              </a:spcBef>
              <a:spcAft>
                <a:spcPts val="0"/>
              </a:spcAft>
            </a:pPr>
            <a:r>
              <a:rPr lang="en-US" sz="3467" b="0" dirty="0"/>
              <a:t>Get product identity right with Verified by GS1.</a:t>
            </a:r>
          </a:p>
        </p:txBody>
      </p:sp>
      <p:grpSp>
        <p:nvGrpSpPr>
          <p:cNvPr id="2" name="Grafik 15">
            <a:extLst>
              <a:ext uri="{FF2B5EF4-FFF2-40B4-BE49-F238E27FC236}">
                <a16:creationId xmlns:a16="http://schemas.microsoft.com/office/drawing/2014/main" id="{ABEB14E0-54F2-7DA6-6444-37898CED11A2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5" name="Grafik 15">
              <a:extLst>
                <a:ext uri="{FF2B5EF4-FFF2-40B4-BE49-F238E27FC236}">
                  <a16:creationId xmlns:a16="http://schemas.microsoft.com/office/drawing/2014/main" id="{EDDF9C41-9BF2-BA2F-46A8-CA1D03BF2F62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7" name="Freihandform 37">
                <a:extLst>
                  <a:ext uri="{FF2B5EF4-FFF2-40B4-BE49-F238E27FC236}">
                    <a16:creationId xmlns:a16="http://schemas.microsoft.com/office/drawing/2014/main" id="{FFC87000-B1D9-88EB-A57E-EBFA7456FBDC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8" name="Freihandform 38">
                <a:extLst>
                  <a:ext uri="{FF2B5EF4-FFF2-40B4-BE49-F238E27FC236}">
                    <a16:creationId xmlns:a16="http://schemas.microsoft.com/office/drawing/2014/main" id="{D785667F-9AEA-0C86-781B-43E15847F2E8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39">
                <a:extLst>
                  <a:ext uri="{FF2B5EF4-FFF2-40B4-BE49-F238E27FC236}">
                    <a16:creationId xmlns:a16="http://schemas.microsoft.com/office/drawing/2014/main" id="{0176E6DC-E9E1-2461-FAF3-75C4DB306546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0" name="Freihandform 40">
                <a:extLst>
                  <a:ext uri="{FF2B5EF4-FFF2-40B4-BE49-F238E27FC236}">
                    <a16:creationId xmlns:a16="http://schemas.microsoft.com/office/drawing/2014/main" id="{A45B2EA7-DB0F-6FC4-B505-65C3FCBA48CC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1" name="Freihandform 41">
                <a:extLst>
                  <a:ext uri="{FF2B5EF4-FFF2-40B4-BE49-F238E27FC236}">
                    <a16:creationId xmlns:a16="http://schemas.microsoft.com/office/drawing/2014/main" id="{A12CD823-45A9-0DBD-DA90-8E726386A2F6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9" name="Grafik 15">
              <a:extLst>
                <a:ext uri="{FF2B5EF4-FFF2-40B4-BE49-F238E27FC236}">
                  <a16:creationId xmlns:a16="http://schemas.microsoft.com/office/drawing/2014/main" id="{0AA6A8E6-C28A-D3A1-D362-9AA3D9C57B5A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5" name="Freihandform 35">
                <a:extLst>
                  <a:ext uri="{FF2B5EF4-FFF2-40B4-BE49-F238E27FC236}">
                    <a16:creationId xmlns:a16="http://schemas.microsoft.com/office/drawing/2014/main" id="{DEC524D8-01E5-1606-6A5A-FF39A6CEDA87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 36">
                <a:extLst>
                  <a:ext uri="{FF2B5EF4-FFF2-40B4-BE49-F238E27FC236}">
                    <a16:creationId xmlns:a16="http://schemas.microsoft.com/office/drawing/2014/main" id="{B7D2490B-3AF6-C567-E4B4-C110DDE47D9D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0" name="Grafik 15">
              <a:extLst>
                <a:ext uri="{FF2B5EF4-FFF2-40B4-BE49-F238E27FC236}">
                  <a16:creationId xmlns:a16="http://schemas.microsoft.com/office/drawing/2014/main" id="{EC89B86A-2BEE-48CF-ABAB-1652D3E54BF9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1" name="Freihandform 31">
                <a:extLst>
                  <a:ext uri="{FF2B5EF4-FFF2-40B4-BE49-F238E27FC236}">
                    <a16:creationId xmlns:a16="http://schemas.microsoft.com/office/drawing/2014/main" id="{B919B0BE-2E7D-BB26-93BF-F68E3EC8C637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" name="Freihandform 32">
                <a:extLst>
                  <a:ext uri="{FF2B5EF4-FFF2-40B4-BE49-F238E27FC236}">
                    <a16:creationId xmlns:a16="http://schemas.microsoft.com/office/drawing/2014/main" id="{AC917ADC-D764-6F82-7000-11C727F4805A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3" name="Freihandform 33">
                <a:extLst>
                  <a:ext uri="{FF2B5EF4-FFF2-40B4-BE49-F238E27FC236}">
                    <a16:creationId xmlns:a16="http://schemas.microsoft.com/office/drawing/2014/main" id="{C017D566-64B0-4AE9-D4D2-D86367490FE9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4" name="Freihandform 34">
                <a:extLst>
                  <a:ext uri="{FF2B5EF4-FFF2-40B4-BE49-F238E27FC236}">
                    <a16:creationId xmlns:a16="http://schemas.microsoft.com/office/drawing/2014/main" id="{7A076BAC-4A8A-EACE-97EE-E97AB3071DFB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1819061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4" y="441325"/>
            <a:ext cx="7690175" cy="618049"/>
          </a:xfrm>
        </p:spPr>
        <p:txBody>
          <a:bodyPr>
            <a:noAutofit/>
          </a:bodyPr>
          <a:lstStyle/>
          <a:p>
            <a:r>
              <a:rPr lang="en-GB" sz="4000" dirty="0">
                <a:solidFill>
                  <a:schemeClr val="accent2"/>
                </a:solidFill>
              </a:rPr>
              <a:t>Going through customs…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9646" y="2366561"/>
            <a:ext cx="7267318" cy="36143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uppieren 7"/>
          <p:cNvGrpSpPr/>
          <p:nvPr/>
        </p:nvGrpSpPr>
        <p:grpSpPr>
          <a:xfrm>
            <a:off x="250371" y="1412519"/>
            <a:ext cx="5938763" cy="2528110"/>
            <a:chOff x="596639" y="1412519"/>
            <a:chExt cx="10991923" cy="453092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B6A846B-B011-0143-ABEA-1C8DBE66ED2E}"/>
                </a:ext>
              </a:extLst>
            </p:cNvPr>
            <p:cNvSpPr/>
            <p:nvPr/>
          </p:nvSpPr>
          <p:spPr>
            <a:xfrm>
              <a:off x="596639" y="1412519"/>
              <a:ext cx="10991923" cy="453092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cxnSp>
          <p:nvCxnSpPr>
            <p:cNvPr id="7" name="Straight Connector 6"/>
            <p:cNvCxnSpPr>
              <a:cxnSpLocks/>
            </p:cNvCxnSpPr>
            <p:nvPr/>
          </p:nvCxnSpPr>
          <p:spPr>
            <a:xfrm>
              <a:off x="5213897" y="1597760"/>
              <a:ext cx="34612" cy="4160445"/>
            </a:xfrm>
            <a:prstGeom prst="line">
              <a:avLst/>
            </a:prstGeom>
            <a:ln w="12700"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2" descr="Image result for checking ID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 flipV="1">
              <a:off x="2443676" y="3720650"/>
              <a:ext cx="2522856" cy="17388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Circular Arrow 16"/>
            <p:cNvSpPr/>
            <p:nvPr/>
          </p:nvSpPr>
          <p:spPr>
            <a:xfrm rot="2248795">
              <a:off x="2491042" y="2406572"/>
              <a:ext cx="1878052" cy="1438281"/>
            </a:xfrm>
            <a:prstGeom prst="circularArrow">
              <a:avLst/>
            </a:prstGeom>
            <a:solidFill>
              <a:schemeClr val="accent3"/>
            </a:solidFill>
            <a:ln w="254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pic>
          <p:nvPicPr>
            <p:cNvPr id="1030" name="Picture 6" descr="Image result for id card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harpenSoften amoun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1035400">
              <a:off x="865423" y="1831564"/>
              <a:ext cx="2522236" cy="16513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589E078-2B6A-40F5-AC7C-31E104BC9E9D}"/>
                </a:ext>
              </a:extLst>
            </p:cNvPr>
            <p:cNvGrpSpPr/>
            <p:nvPr/>
          </p:nvGrpSpPr>
          <p:grpSpPr>
            <a:xfrm>
              <a:off x="5603108" y="1830153"/>
              <a:ext cx="5782861" cy="4004001"/>
              <a:chOff x="4202331" y="1372614"/>
              <a:chExt cx="4337146" cy="3003001"/>
            </a:xfrm>
          </p:grpSpPr>
          <p:sp>
            <p:nvSpPr>
              <p:cNvPr id="10" name="Circular Arrow 9"/>
              <p:cNvSpPr/>
              <p:nvPr/>
            </p:nvSpPr>
            <p:spPr>
              <a:xfrm rot="21431139">
                <a:off x="5539142" y="1436123"/>
                <a:ext cx="1408539" cy="1078711"/>
              </a:xfrm>
              <a:prstGeom prst="circularArrow">
                <a:avLst/>
              </a:prstGeom>
              <a:solidFill>
                <a:schemeClr val="accent3"/>
              </a:solidFill>
              <a:ln w="254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4" name="Picture 3"/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913" b="1"/>
              <a:stretch/>
            </p:blipFill>
            <p:spPr>
              <a:xfrm>
                <a:off x="6554719" y="2026055"/>
                <a:ext cx="1984758" cy="2349560"/>
              </a:xfrm>
              <a:prstGeom prst="rect">
                <a:avLst/>
              </a:prstGeom>
              <a:ln>
                <a:solidFill>
                  <a:schemeClr val="bg2"/>
                </a:solidFill>
              </a:ln>
            </p:spPr>
          </p:pic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1078086">
                <a:off x="4202331" y="1372614"/>
                <a:ext cx="1868592" cy="1205728"/>
              </a:xfrm>
              <a:prstGeom prst="rect">
                <a:avLst/>
              </a:prstGeom>
            </p:spPr>
          </p:pic>
        </p:grpSp>
      </p:grpSp>
      <p:sp>
        <p:nvSpPr>
          <p:cNvPr id="9" name="Rechteck 8"/>
          <p:cNvSpPr/>
          <p:nvPr/>
        </p:nvSpPr>
        <p:spPr>
          <a:xfrm>
            <a:off x="5565766" y="5968484"/>
            <a:ext cx="55108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  <a:hlinkClick r:id="rId10" tooltip="https://www.gs1.org/services/verified-by-gs1"/>
              </a:rPr>
              <a:t>https://www.gs1.org/services/verified-by-gs1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6" name="Picture 2" descr="Das automatisierte Grenzkontrollsystem Easy Pass - YouTube">
            <a:extLst>
              <a:ext uri="{FF2B5EF4-FFF2-40B4-BE49-F238E27FC236}">
                <a16:creationId xmlns:a16="http://schemas.microsoft.com/office/drawing/2014/main" id="{AA07F2A2-AE38-47B7-A472-703DBA0494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497" y="3746990"/>
            <a:ext cx="3601611" cy="2025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afik 15">
            <a:extLst>
              <a:ext uri="{FF2B5EF4-FFF2-40B4-BE49-F238E27FC236}">
                <a16:creationId xmlns:a16="http://schemas.microsoft.com/office/drawing/2014/main" id="{6B3D60C7-ED86-5EC2-A69B-717F40B3CA62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13" name="Grafik 15">
              <a:extLst>
                <a:ext uri="{FF2B5EF4-FFF2-40B4-BE49-F238E27FC236}">
                  <a16:creationId xmlns:a16="http://schemas.microsoft.com/office/drawing/2014/main" id="{3EF66EDD-4746-55C8-C186-64ECDE51F497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5" name="Freihandform 37">
                <a:extLst>
                  <a:ext uri="{FF2B5EF4-FFF2-40B4-BE49-F238E27FC236}">
                    <a16:creationId xmlns:a16="http://schemas.microsoft.com/office/drawing/2014/main" id="{7F3A7DDB-0C43-1C5E-1FA8-0F3A283C4480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6" name="Freihandform 38">
                <a:extLst>
                  <a:ext uri="{FF2B5EF4-FFF2-40B4-BE49-F238E27FC236}">
                    <a16:creationId xmlns:a16="http://schemas.microsoft.com/office/drawing/2014/main" id="{7E915EE7-5371-B20E-FC1F-D15268B1C49A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7" name="Freihandform 39">
                <a:extLst>
                  <a:ext uri="{FF2B5EF4-FFF2-40B4-BE49-F238E27FC236}">
                    <a16:creationId xmlns:a16="http://schemas.microsoft.com/office/drawing/2014/main" id="{6DA59238-B168-DCCE-A2FF-A173332EAFD0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8" name="Freihandform 40">
                <a:extLst>
                  <a:ext uri="{FF2B5EF4-FFF2-40B4-BE49-F238E27FC236}">
                    <a16:creationId xmlns:a16="http://schemas.microsoft.com/office/drawing/2014/main" id="{F1D3A729-ECA2-A845-6DB5-8D24B20529C8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9" name="Freihandform 41">
                <a:extLst>
                  <a:ext uri="{FF2B5EF4-FFF2-40B4-BE49-F238E27FC236}">
                    <a16:creationId xmlns:a16="http://schemas.microsoft.com/office/drawing/2014/main" id="{C3E48EBB-97CD-16D1-CE48-BC38B959E490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4" name="Grafik 15">
              <a:extLst>
                <a:ext uri="{FF2B5EF4-FFF2-40B4-BE49-F238E27FC236}">
                  <a16:creationId xmlns:a16="http://schemas.microsoft.com/office/drawing/2014/main" id="{75BD8913-925D-BADC-1994-AF5299657CF6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23" name="Freihandform 35">
                <a:extLst>
                  <a:ext uri="{FF2B5EF4-FFF2-40B4-BE49-F238E27FC236}">
                    <a16:creationId xmlns:a16="http://schemas.microsoft.com/office/drawing/2014/main" id="{15F99CD4-FA12-42F8-8A06-C0D03E744D70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4" name="Freihandform 36">
                <a:extLst>
                  <a:ext uri="{FF2B5EF4-FFF2-40B4-BE49-F238E27FC236}">
                    <a16:creationId xmlns:a16="http://schemas.microsoft.com/office/drawing/2014/main" id="{7FF3AC57-CC98-1C0F-2F9D-CDEE9679CDF5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5" name="Grafik 15">
              <a:extLst>
                <a:ext uri="{FF2B5EF4-FFF2-40B4-BE49-F238E27FC236}">
                  <a16:creationId xmlns:a16="http://schemas.microsoft.com/office/drawing/2014/main" id="{7A385BE4-A4A0-B9D0-D777-77F5E341D7D9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8" name="Freihandform 31">
                <a:extLst>
                  <a:ext uri="{FF2B5EF4-FFF2-40B4-BE49-F238E27FC236}">
                    <a16:creationId xmlns:a16="http://schemas.microsoft.com/office/drawing/2014/main" id="{7A2E0FD8-7D21-1C0C-6228-88535D4777F6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32">
                <a:extLst>
                  <a:ext uri="{FF2B5EF4-FFF2-40B4-BE49-F238E27FC236}">
                    <a16:creationId xmlns:a16="http://schemas.microsoft.com/office/drawing/2014/main" id="{A16F9955-62E8-0543-A34C-27A97B584C1D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0" name="Freihandform 33">
                <a:extLst>
                  <a:ext uri="{FF2B5EF4-FFF2-40B4-BE49-F238E27FC236}">
                    <a16:creationId xmlns:a16="http://schemas.microsoft.com/office/drawing/2014/main" id="{AC57A768-EAA2-132F-68EB-2F1FAB378E04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1" name="Freihandform 34">
                <a:extLst>
                  <a:ext uri="{FF2B5EF4-FFF2-40B4-BE49-F238E27FC236}">
                    <a16:creationId xmlns:a16="http://schemas.microsoft.com/office/drawing/2014/main" id="{29926046-02C7-1775-2C9F-579D6161861F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70929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platzhalter 6"/>
          <p:cNvSpPr txBox="1">
            <a:spLocks/>
          </p:cNvSpPr>
          <p:nvPr/>
        </p:nvSpPr>
        <p:spPr>
          <a:xfrm>
            <a:off x="615577" y="1769319"/>
            <a:ext cx="908424" cy="971109"/>
          </a:xfrm>
          <a:prstGeom prst="rect">
            <a:avLst/>
          </a:prstGeom>
          <a:solidFill>
            <a:schemeClr val="accent1"/>
          </a:solidFill>
        </p:spPr>
        <p:txBody>
          <a:bodyPr anchor="ctr" anchorCtr="1"/>
          <a:lstStyle>
            <a:lvl1pPr marL="0" marR="0" indent="0" algn="ctr" defTabSz="457155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500" b="1" i="0" kern="1200" baseline="0">
                <a:solidFill>
                  <a:schemeClr val="bg1"/>
                </a:solidFill>
                <a:latin typeface="Verdana"/>
                <a:ea typeface="ＭＳ Ｐゴシック" charset="0"/>
                <a:cs typeface="Verdana"/>
              </a:defRPr>
            </a:lvl1pPr>
            <a:lvl2pPr marL="558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Lucida Grande"/>
              <a:buChar char="­"/>
              <a:tabLst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2pPr>
            <a:lvl3pPr marL="824400" indent="-285750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3pPr>
            <a:lvl4pPr marL="1051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4pPr>
            <a:lvl5pPr marL="1267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/>
              <a:buChar char="•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55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3B7E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ＭＳ Ｐゴシック" charset="0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1640546" y="1771146"/>
            <a:ext cx="3307972" cy="971109"/>
          </a:xfrm>
        </p:spPr>
        <p:txBody>
          <a:bodyPr/>
          <a:lstStyle/>
          <a:p>
            <a:r>
              <a:rPr lang="de-DE" sz="2133" cap="all" dirty="0"/>
              <a:t>Customer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71475" y="455175"/>
            <a:ext cx="9079730" cy="590349"/>
          </a:xfrm>
        </p:spPr>
        <p:txBody>
          <a:bodyPr/>
          <a:lstStyle/>
          <a:p>
            <a:r>
              <a:rPr lang="en-US" sz="4000" dirty="0"/>
              <a:t>VbG Data Out – Our Motivation</a:t>
            </a:r>
            <a:endParaRPr lang="de-DE" sz="40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de-DE" sz="700" b="0" i="0" u="none" strike="noStrike" kern="1200" cap="none" spc="0" normalizeH="0" baseline="0" noProof="0" smtClean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5048739" y="1665377"/>
            <a:ext cx="6538035" cy="1223156"/>
          </a:xfrm>
        </p:spPr>
        <p:txBody>
          <a:bodyPr vert="horz" lIns="0" tIns="45720" rIns="0" bIns="45720" rtlCol="0" anchor="ctr">
            <a:noAutofit/>
          </a:bodyPr>
          <a:lstStyle/>
          <a:p>
            <a:pPr marL="97364"/>
            <a:r>
              <a:rPr lang="en-US" sz="1867" dirty="0"/>
              <a:t>Our Customers decide base on complete and correct product informatio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2"/>
          </p:nvPr>
        </p:nvSpPr>
        <p:spPr>
          <a:xfrm>
            <a:off x="1640546" y="3183719"/>
            <a:ext cx="3307972" cy="971109"/>
          </a:xfrm>
        </p:spPr>
        <p:txBody>
          <a:bodyPr/>
          <a:lstStyle/>
          <a:p>
            <a:r>
              <a:rPr lang="de-DE" sz="2133" cap="all" dirty="0"/>
              <a:t>Trus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3"/>
          </p:nvPr>
        </p:nvSpPr>
        <p:spPr>
          <a:xfrm>
            <a:off x="5048739" y="3077950"/>
            <a:ext cx="6538035" cy="1223156"/>
          </a:xfrm>
        </p:spPr>
        <p:txBody>
          <a:bodyPr vert="horz" lIns="0" tIns="45720" rIns="0" bIns="45720" rtlCol="0" anchor="ctr">
            <a:noAutofit/>
          </a:bodyPr>
          <a:lstStyle/>
          <a:p>
            <a:pPr marL="97364"/>
            <a:r>
              <a:rPr lang="en-US" sz="1867" dirty="0"/>
              <a:t>Verified product information create trust along all parties of the value chai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4"/>
          </p:nvPr>
        </p:nvSpPr>
        <p:spPr>
          <a:xfrm>
            <a:off x="1640546" y="4596292"/>
            <a:ext cx="3307972" cy="971109"/>
          </a:xfrm>
        </p:spPr>
        <p:txBody>
          <a:bodyPr/>
          <a:lstStyle/>
          <a:p>
            <a:r>
              <a:rPr lang="de-DE" sz="2133" cap="all" dirty="0"/>
              <a:t>Security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5"/>
          </p:nvPr>
        </p:nvSpPr>
        <p:spPr>
          <a:xfrm>
            <a:off x="5048739" y="4490523"/>
            <a:ext cx="6538035" cy="1223156"/>
          </a:xfrm>
        </p:spPr>
        <p:txBody>
          <a:bodyPr vert="horz" lIns="0" tIns="45720" rIns="0" bIns="45720" rtlCol="0" anchor="ctr">
            <a:noAutofit/>
          </a:bodyPr>
          <a:lstStyle/>
          <a:p>
            <a:pPr marL="97364"/>
            <a:r>
              <a:rPr lang="en-US" sz="1867" dirty="0"/>
              <a:t>Verification of products bevor listing,</a:t>
            </a:r>
          </a:p>
          <a:p>
            <a:pPr marL="97364"/>
            <a:r>
              <a:rPr lang="en-US" sz="1867" dirty="0"/>
              <a:t>especially via distributors and market place sellers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E82AED33-148D-49DD-8613-E5024685D7E8}"/>
              </a:ext>
            </a:extLst>
          </p:cNvPr>
          <p:cNvGrpSpPr/>
          <p:nvPr/>
        </p:nvGrpSpPr>
        <p:grpSpPr>
          <a:xfrm>
            <a:off x="866589" y="2089773"/>
            <a:ext cx="406401" cy="330200"/>
            <a:chOff x="1077913" y="2254250"/>
            <a:chExt cx="304801" cy="247650"/>
          </a:xfrm>
          <a:solidFill>
            <a:schemeClr val="accent1"/>
          </a:solidFill>
        </p:grpSpPr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045DC09F-65ED-43CF-957A-3B550D88F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913" y="2254250"/>
              <a:ext cx="198438" cy="247650"/>
            </a:xfrm>
            <a:custGeom>
              <a:avLst/>
              <a:gdLst>
                <a:gd name="T0" fmla="*/ 99 w 200"/>
                <a:gd name="T1" fmla="*/ 246 h 246"/>
                <a:gd name="T2" fmla="*/ 99 w 200"/>
                <a:gd name="T3" fmla="*/ 246 h 246"/>
                <a:gd name="T4" fmla="*/ 200 w 200"/>
                <a:gd name="T5" fmla="*/ 246 h 246"/>
                <a:gd name="T6" fmla="*/ 200 w 200"/>
                <a:gd name="T7" fmla="*/ 186 h 246"/>
                <a:gd name="T8" fmla="*/ 127 w 200"/>
                <a:gd name="T9" fmla="*/ 146 h 246"/>
                <a:gd name="T10" fmla="*/ 127 w 200"/>
                <a:gd name="T11" fmla="*/ 119 h 246"/>
                <a:gd name="T12" fmla="*/ 140 w 200"/>
                <a:gd name="T13" fmla="*/ 86 h 246"/>
                <a:gd name="T14" fmla="*/ 141 w 200"/>
                <a:gd name="T15" fmla="*/ 59 h 246"/>
                <a:gd name="T16" fmla="*/ 147 w 200"/>
                <a:gd name="T17" fmla="*/ 26 h 246"/>
                <a:gd name="T18" fmla="*/ 67 w 200"/>
                <a:gd name="T19" fmla="*/ 26 h 246"/>
                <a:gd name="T20" fmla="*/ 60 w 200"/>
                <a:gd name="T21" fmla="*/ 59 h 246"/>
                <a:gd name="T22" fmla="*/ 60 w 200"/>
                <a:gd name="T23" fmla="*/ 86 h 246"/>
                <a:gd name="T24" fmla="*/ 73 w 200"/>
                <a:gd name="T25" fmla="*/ 119 h 246"/>
                <a:gd name="T26" fmla="*/ 73 w 200"/>
                <a:gd name="T27" fmla="*/ 146 h 246"/>
                <a:gd name="T28" fmla="*/ 0 w 200"/>
                <a:gd name="T29" fmla="*/ 186 h 246"/>
                <a:gd name="T30" fmla="*/ 0 w 200"/>
                <a:gd name="T31" fmla="*/ 246 h 246"/>
                <a:gd name="T32" fmla="*/ 99 w 200"/>
                <a:gd name="T33" fmla="*/ 246 h 246"/>
                <a:gd name="T34" fmla="*/ 99 w 200"/>
                <a:gd name="T35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0" h="246">
                  <a:moveTo>
                    <a:pt x="99" y="246"/>
                  </a:moveTo>
                  <a:lnTo>
                    <a:pt x="99" y="246"/>
                  </a:lnTo>
                  <a:lnTo>
                    <a:pt x="200" y="246"/>
                  </a:lnTo>
                  <a:lnTo>
                    <a:pt x="200" y="186"/>
                  </a:lnTo>
                  <a:cubicBezTo>
                    <a:pt x="200" y="179"/>
                    <a:pt x="160" y="159"/>
                    <a:pt x="127" y="146"/>
                  </a:cubicBezTo>
                  <a:lnTo>
                    <a:pt x="127" y="119"/>
                  </a:lnTo>
                  <a:cubicBezTo>
                    <a:pt x="127" y="119"/>
                    <a:pt x="140" y="115"/>
                    <a:pt x="140" y="86"/>
                  </a:cubicBezTo>
                  <a:cubicBezTo>
                    <a:pt x="149" y="86"/>
                    <a:pt x="153" y="59"/>
                    <a:pt x="141" y="59"/>
                  </a:cubicBezTo>
                  <a:cubicBezTo>
                    <a:pt x="141" y="56"/>
                    <a:pt x="151" y="42"/>
                    <a:pt x="147" y="26"/>
                  </a:cubicBezTo>
                  <a:cubicBezTo>
                    <a:pt x="140" y="0"/>
                    <a:pt x="73" y="0"/>
                    <a:pt x="67" y="26"/>
                  </a:cubicBezTo>
                  <a:cubicBezTo>
                    <a:pt x="39" y="20"/>
                    <a:pt x="60" y="55"/>
                    <a:pt x="60" y="59"/>
                  </a:cubicBezTo>
                  <a:cubicBezTo>
                    <a:pt x="47" y="59"/>
                    <a:pt x="51" y="86"/>
                    <a:pt x="60" y="86"/>
                  </a:cubicBezTo>
                  <a:cubicBezTo>
                    <a:pt x="60" y="115"/>
                    <a:pt x="73" y="119"/>
                    <a:pt x="73" y="119"/>
                  </a:cubicBezTo>
                  <a:lnTo>
                    <a:pt x="73" y="146"/>
                  </a:lnTo>
                  <a:cubicBezTo>
                    <a:pt x="40" y="159"/>
                    <a:pt x="0" y="179"/>
                    <a:pt x="0" y="186"/>
                  </a:cubicBezTo>
                  <a:lnTo>
                    <a:pt x="0" y="246"/>
                  </a:lnTo>
                  <a:lnTo>
                    <a:pt x="99" y="246"/>
                  </a:lnTo>
                  <a:lnTo>
                    <a:pt x="99" y="24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Freeform 11">
              <a:extLst>
                <a:ext uri="{FF2B5EF4-FFF2-40B4-BE49-F238E27FC236}">
                  <a16:creationId xmlns:a16="http://schemas.microsoft.com/office/drawing/2014/main" id="{C1E8473C-97C2-47AE-BEAE-55692495E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126" y="2292350"/>
              <a:ext cx="128588" cy="209550"/>
            </a:xfrm>
            <a:custGeom>
              <a:avLst/>
              <a:gdLst>
                <a:gd name="T0" fmla="*/ 55 w 129"/>
                <a:gd name="T1" fmla="*/ 207 h 207"/>
                <a:gd name="T2" fmla="*/ 55 w 129"/>
                <a:gd name="T3" fmla="*/ 207 h 207"/>
                <a:gd name="T4" fmla="*/ 129 w 129"/>
                <a:gd name="T5" fmla="*/ 207 h 207"/>
                <a:gd name="T6" fmla="*/ 129 w 129"/>
                <a:gd name="T7" fmla="*/ 147 h 207"/>
                <a:gd name="T8" fmla="*/ 69 w 129"/>
                <a:gd name="T9" fmla="*/ 120 h 207"/>
                <a:gd name="T10" fmla="*/ 69 w 129"/>
                <a:gd name="T11" fmla="*/ 100 h 207"/>
                <a:gd name="T12" fmla="*/ 82 w 129"/>
                <a:gd name="T13" fmla="*/ 74 h 207"/>
                <a:gd name="T14" fmla="*/ 82 w 129"/>
                <a:gd name="T15" fmla="*/ 47 h 207"/>
                <a:gd name="T16" fmla="*/ 89 w 129"/>
                <a:gd name="T17" fmla="*/ 20 h 207"/>
                <a:gd name="T18" fmla="*/ 22 w 129"/>
                <a:gd name="T19" fmla="*/ 20 h 207"/>
                <a:gd name="T20" fmla="*/ 15 w 129"/>
                <a:gd name="T21" fmla="*/ 47 h 207"/>
                <a:gd name="T22" fmla="*/ 15 w 129"/>
                <a:gd name="T23" fmla="*/ 74 h 207"/>
                <a:gd name="T24" fmla="*/ 29 w 129"/>
                <a:gd name="T25" fmla="*/ 100 h 207"/>
                <a:gd name="T26" fmla="*/ 29 w 129"/>
                <a:gd name="T27" fmla="*/ 114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9" h="207">
                  <a:moveTo>
                    <a:pt x="55" y="207"/>
                  </a:moveTo>
                  <a:lnTo>
                    <a:pt x="55" y="207"/>
                  </a:lnTo>
                  <a:lnTo>
                    <a:pt x="129" y="207"/>
                  </a:lnTo>
                  <a:lnTo>
                    <a:pt x="129" y="147"/>
                  </a:lnTo>
                  <a:cubicBezTo>
                    <a:pt x="129" y="140"/>
                    <a:pt x="95" y="131"/>
                    <a:pt x="69" y="120"/>
                  </a:cubicBezTo>
                  <a:lnTo>
                    <a:pt x="69" y="100"/>
                  </a:lnTo>
                  <a:cubicBezTo>
                    <a:pt x="69" y="100"/>
                    <a:pt x="82" y="96"/>
                    <a:pt x="82" y="74"/>
                  </a:cubicBezTo>
                  <a:cubicBezTo>
                    <a:pt x="90" y="74"/>
                    <a:pt x="92" y="47"/>
                    <a:pt x="82" y="47"/>
                  </a:cubicBezTo>
                  <a:cubicBezTo>
                    <a:pt x="82" y="45"/>
                    <a:pt x="93" y="33"/>
                    <a:pt x="89" y="20"/>
                  </a:cubicBezTo>
                  <a:cubicBezTo>
                    <a:pt x="82" y="0"/>
                    <a:pt x="29" y="0"/>
                    <a:pt x="22" y="20"/>
                  </a:cubicBezTo>
                  <a:cubicBezTo>
                    <a:pt x="0" y="16"/>
                    <a:pt x="15" y="44"/>
                    <a:pt x="15" y="47"/>
                  </a:cubicBezTo>
                  <a:cubicBezTo>
                    <a:pt x="5" y="47"/>
                    <a:pt x="8" y="74"/>
                    <a:pt x="15" y="74"/>
                  </a:cubicBezTo>
                  <a:cubicBezTo>
                    <a:pt x="15" y="96"/>
                    <a:pt x="29" y="100"/>
                    <a:pt x="29" y="100"/>
                  </a:cubicBezTo>
                  <a:lnTo>
                    <a:pt x="29" y="114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1" name="Textplatzhalter 6"/>
          <p:cNvSpPr txBox="1">
            <a:spLocks/>
          </p:cNvSpPr>
          <p:nvPr/>
        </p:nvSpPr>
        <p:spPr>
          <a:xfrm>
            <a:off x="615577" y="3183719"/>
            <a:ext cx="908424" cy="971109"/>
          </a:xfrm>
          <a:prstGeom prst="rect">
            <a:avLst/>
          </a:prstGeom>
          <a:solidFill>
            <a:schemeClr val="accent1"/>
          </a:solidFill>
        </p:spPr>
        <p:txBody>
          <a:bodyPr anchor="ctr" anchorCtr="1"/>
          <a:lstStyle>
            <a:lvl1pPr marL="0" marR="0" indent="0" algn="ctr" defTabSz="457155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500" b="1" i="0" kern="1200" baseline="0">
                <a:solidFill>
                  <a:schemeClr val="bg1"/>
                </a:solidFill>
                <a:latin typeface="Verdana"/>
                <a:ea typeface="ＭＳ Ｐゴシック" charset="0"/>
                <a:cs typeface="Verdana"/>
              </a:defRPr>
            </a:lvl1pPr>
            <a:lvl2pPr marL="558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Lucida Grande"/>
              <a:buChar char="­"/>
              <a:tabLst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2pPr>
            <a:lvl3pPr marL="824400" indent="-285750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3pPr>
            <a:lvl4pPr marL="1051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4pPr>
            <a:lvl5pPr marL="1267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/>
              <a:buChar char="•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55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3B7E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ＭＳ Ｐゴシック" charset="0"/>
            </a:endParaRPr>
          </a:p>
        </p:txBody>
      </p:sp>
      <p:sp>
        <p:nvSpPr>
          <p:cNvPr id="52" name="Textplatzhalter 6"/>
          <p:cNvSpPr txBox="1">
            <a:spLocks/>
          </p:cNvSpPr>
          <p:nvPr/>
        </p:nvSpPr>
        <p:spPr>
          <a:xfrm>
            <a:off x="615577" y="4596292"/>
            <a:ext cx="908424" cy="971109"/>
          </a:xfrm>
          <a:prstGeom prst="rect">
            <a:avLst/>
          </a:prstGeom>
          <a:solidFill>
            <a:schemeClr val="accent1"/>
          </a:solidFill>
        </p:spPr>
        <p:txBody>
          <a:bodyPr anchor="ctr" anchorCtr="1"/>
          <a:lstStyle>
            <a:lvl1pPr marL="0" marR="0" indent="0" algn="ctr" defTabSz="457155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Tx/>
              <a:buNone/>
              <a:tabLst/>
              <a:defRPr sz="1500" b="1" i="0" kern="1200" baseline="0">
                <a:solidFill>
                  <a:schemeClr val="bg1"/>
                </a:solidFill>
                <a:latin typeface="Verdana"/>
                <a:ea typeface="ＭＳ Ｐゴシック" charset="0"/>
                <a:cs typeface="Verdana"/>
              </a:defRPr>
            </a:lvl1pPr>
            <a:lvl2pPr marL="558000" marR="0" indent="-285750" algn="l" defTabSz="457155" rtl="0" eaLnBrk="1" fontAlgn="base" latinLnBrk="0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Tx/>
              <a:buFont typeface="Lucida Grande"/>
              <a:buChar char="­"/>
              <a:tabLst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2pPr>
            <a:lvl3pPr marL="824400" indent="-285750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Arial"/>
              <a:buChar char="•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3pPr>
            <a:lvl4pPr marL="1051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Font typeface="Lucida Grande"/>
              <a:buChar char="­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4pPr>
            <a:lvl5pPr marL="1267200" indent="-228578" algn="l" defTabSz="457155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/>
              <a:buChar char="•"/>
              <a:defRPr sz="1700" b="0" i="0" kern="1200">
                <a:solidFill>
                  <a:schemeClr val="tx2"/>
                </a:solidFill>
                <a:latin typeface="Verdana"/>
                <a:ea typeface="ＭＳ Ｐゴシック" charset="0"/>
                <a:cs typeface="Verdana"/>
              </a:defRPr>
            </a:lvl5pPr>
            <a:lvl6pPr marL="2514354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9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65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21" indent="-228578" algn="l" defTabSz="45715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155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003B7E"/>
              </a:buClr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ＭＳ Ｐゴシック" charset="0"/>
            </a:endParaRP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6498C813-402D-43F1-973A-8F188BFDD519}"/>
              </a:ext>
            </a:extLst>
          </p:cNvPr>
          <p:cNvGrpSpPr/>
          <p:nvPr/>
        </p:nvGrpSpPr>
        <p:grpSpPr>
          <a:xfrm>
            <a:off x="867337" y="3474540"/>
            <a:ext cx="406400" cy="389467"/>
            <a:chOff x="1303338" y="2619375"/>
            <a:chExt cx="304800" cy="292100"/>
          </a:xfrm>
          <a:solidFill>
            <a:schemeClr val="accent1"/>
          </a:solidFill>
        </p:grpSpPr>
        <p:sp>
          <p:nvSpPr>
            <p:cNvPr id="54" name="Freeform 54">
              <a:extLst>
                <a:ext uri="{FF2B5EF4-FFF2-40B4-BE49-F238E27FC236}">
                  <a16:creationId xmlns:a16="http://schemas.microsoft.com/office/drawing/2014/main" id="{D3815D48-314B-4C2D-AB44-20EDB8A1A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3338" y="2679700"/>
              <a:ext cx="304800" cy="231775"/>
            </a:xfrm>
            <a:custGeom>
              <a:avLst/>
              <a:gdLst>
                <a:gd name="T0" fmla="*/ 187 w 307"/>
                <a:gd name="T1" fmla="*/ 0 h 227"/>
                <a:gd name="T2" fmla="*/ 187 w 307"/>
                <a:gd name="T3" fmla="*/ 0 h 227"/>
                <a:gd name="T4" fmla="*/ 307 w 307"/>
                <a:gd name="T5" fmla="*/ 0 h 227"/>
                <a:gd name="T6" fmla="*/ 307 w 307"/>
                <a:gd name="T7" fmla="*/ 227 h 227"/>
                <a:gd name="T8" fmla="*/ 0 w 307"/>
                <a:gd name="T9" fmla="*/ 227 h 227"/>
                <a:gd name="T10" fmla="*/ 0 w 307"/>
                <a:gd name="T11" fmla="*/ 0 h 227"/>
                <a:gd name="T12" fmla="*/ 120 w 307"/>
                <a:gd name="T13" fmla="*/ 0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227">
                  <a:moveTo>
                    <a:pt x="187" y="0"/>
                  </a:moveTo>
                  <a:lnTo>
                    <a:pt x="187" y="0"/>
                  </a:lnTo>
                  <a:lnTo>
                    <a:pt x="307" y="0"/>
                  </a:lnTo>
                  <a:lnTo>
                    <a:pt x="307" y="227"/>
                  </a:lnTo>
                  <a:lnTo>
                    <a:pt x="0" y="227"/>
                  </a:lnTo>
                  <a:lnTo>
                    <a:pt x="0" y="0"/>
                  </a:lnTo>
                  <a:lnTo>
                    <a:pt x="120" y="0"/>
                  </a:ln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5" name="Freeform 55">
              <a:extLst>
                <a:ext uri="{FF2B5EF4-FFF2-40B4-BE49-F238E27FC236}">
                  <a16:creationId xmlns:a16="http://schemas.microsoft.com/office/drawing/2014/main" id="{406FBEA2-868D-46C9-BCC2-6D69C79DE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6" y="2776538"/>
              <a:ext cx="53975" cy="53975"/>
            </a:xfrm>
            <a:custGeom>
              <a:avLst/>
              <a:gdLst>
                <a:gd name="T0" fmla="*/ 53 w 53"/>
                <a:gd name="T1" fmla="*/ 26 h 53"/>
                <a:gd name="T2" fmla="*/ 53 w 53"/>
                <a:gd name="T3" fmla="*/ 26 h 53"/>
                <a:gd name="T4" fmla="*/ 27 w 53"/>
                <a:gd name="T5" fmla="*/ 53 h 53"/>
                <a:gd name="T6" fmla="*/ 0 w 53"/>
                <a:gd name="T7" fmla="*/ 26 h 53"/>
                <a:gd name="T8" fmla="*/ 27 w 53"/>
                <a:gd name="T9" fmla="*/ 0 h 53"/>
                <a:gd name="T10" fmla="*/ 53 w 53"/>
                <a:gd name="T11" fmla="*/ 26 h 53"/>
                <a:gd name="T12" fmla="*/ 53 w 53"/>
                <a:gd name="T13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53">
                  <a:moveTo>
                    <a:pt x="53" y="26"/>
                  </a:moveTo>
                  <a:lnTo>
                    <a:pt x="53" y="26"/>
                  </a:lnTo>
                  <a:cubicBezTo>
                    <a:pt x="53" y="41"/>
                    <a:pt x="42" y="53"/>
                    <a:pt x="27" y="53"/>
                  </a:cubicBezTo>
                  <a:cubicBezTo>
                    <a:pt x="12" y="53"/>
                    <a:pt x="0" y="41"/>
                    <a:pt x="0" y="26"/>
                  </a:cubicBezTo>
                  <a:cubicBezTo>
                    <a:pt x="0" y="11"/>
                    <a:pt x="12" y="0"/>
                    <a:pt x="27" y="0"/>
                  </a:cubicBezTo>
                  <a:cubicBezTo>
                    <a:pt x="42" y="0"/>
                    <a:pt x="53" y="11"/>
                    <a:pt x="53" y="26"/>
                  </a:cubicBezTo>
                  <a:lnTo>
                    <a:pt x="53" y="2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6" name="Freeform 56">
              <a:extLst>
                <a:ext uri="{FF2B5EF4-FFF2-40B4-BE49-F238E27FC236}">
                  <a16:creationId xmlns:a16="http://schemas.microsoft.com/office/drawing/2014/main" id="{BEF96939-1785-4B3E-922D-BA8ACB5FC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026" y="2830513"/>
              <a:ext cx="92075" cy="39688"/>
            </a:xfrm>
            <a:custGeom>
              <a:avLst/>
              <a:gdLst>
                <a:gd name="T0" fmla="*/ 47 w 93"/>
                <a:gd name="T1" fmla="*/ 0 h 40"/>
                <a:gd name="T2" fmla="*/ 47 w 93"/>
                <a:gd name="T3" fmla="*/ 0 h 40"/>
                <a:gd name="T4" fmla="*/ 0 w 93"/>
                <a:gd name="T5" fmla="*/ 40 h 40"/>
                <a:gd name="T6" fmla="*/ 93 w 93"/>
                <a:gd name="T7" fmla="*/ 40 h 40"/>
                <a:gd name="T8" fmla="*/ 47 w 93"/>
                <a:gd name="T9" fmla="*/ 0 h 40"/>
                <a:gd name="T10" fmla="*/ 47 w 93"/>
                <a:gd name="T1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3" h="40">
                  <a:moveTo>
                    <a:pt x="47" y="0"/>
                  </a:moveTo>
                  <a:lnTo>
                    <a:pt x="47" y="0"/>
                  </a:lnTo>
                  <a:cubicBezTo>
                    <a:pt x="13" y="0"/>
                    <a:pt x="0" y="20"/>
                    <a:pt x="0" y="40"/>
                  </a:cubicBezTo>
                  <a:lnTo>
                    <a:pt x="93" y="40"/>
                  </a:lnTo>
                  <a:cubicBezTo>
                    <a:pt x="93" y="20"/>
                    <a:pt x="80" y="0"/>
                    <a:pt x="47" y="0"/>
                  </a:cubicBezTo>
                  <a:lnTo>
                    <a:pt x="47" y="0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7" name="Freeform 57">
              <a:extLst>
                <a:ext uri="{FF2B5EF4-FFF2-40B4-BE49-F238E27FC236}">
                  <a16:creationId xmlns:a16="http://schemas.microsoft.com/office/drawing/2014/main" id="{40CE6BC6-1347-41A0-AEE3-D10FA690F5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2401" y="2619375"/>
              <a:ext cx="66675" cy="88900"/>
            </a:xfrm>
            <a:custGeom>
              <a:avLst/>
              <a:gdLst>
                <a:gd name="T0" fmla="*/ 67 w 67"/>
                <a:gd name="T1" fmla="*/ 87 h 87"/>
                <a:gd name="T2" fmla="*/ 67 w 67"/>
                <a:gd name="T3" fmla="*/ 87 h 87"/>
                <a:gd name="T4" fmla="*/ 0 w 67"/>
                <a:gd name="T5" fmla="*/ 87 h 87"/>
                <a:gd name="T6" fmla="*/ 0 w 67"/>
                <a:gd name="T7" fmla="*/ 34 h 87"/>
                <a:gd name="T8" fmla="*/ 33 w 67"/>
                <a:gd name="T9" fmla="*/ 0 h 87"/>
                <a:gd name="T10" fmla="*/ 67 w 67"/>
                <a:gd name="T11" fmla="*/ 34 h 87"/>
                <a:gd name="T12" fmla="*/ 67 w 67"/>
                <a:gd name="T13" fmla="*/ 87 h 87"/>
                <a:gd name="T14" fmla="*/ 67 w 67"/>
                <a:gd name="T1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87">
                  <a:moveTo>
                    <a:pt x="67" y="87"/>
                  </a:moveTo>
                  <a:lnTo>
                    <a:pt x="67" y="87"/>
                  </a:lnTo>
                  <a:lnTo>
                    <a:pt x="0" y="87"/>
                  </a:lnTo>
                  <a:lnTo>
                    <a:pt x="0" y="34"/>
                  </a:ln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4"/>
                  </a:cubicBezTo>
                  <a:lnTo>
                    <a:pt x="67" y="87"/>
                  </a:lnTo>
                  <a:lnTo>
                    <a:pt x="67" y="87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8" name="Freeform 58">
              <a:extLst>
                <a:ext uri="{FF2B5EF4-FFF2-40B4-BE49-F238E27FC236}">
                  <a16:creationId xmlns:a16="http://schemas.microsoft.com/office/drawing/2014/main" id="{AF667849-A997-410D-9113-AFBDCF9CE7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3338" y="2735263"/>
              <a:ext cx="304800" cy="0"/>
            </a:xfrm>
            <a:custGeom>
              <a:avLst/>
              <a:gdLst>
                <a:gd name="T0" fmla="*/ 0 w 307"/>
                <a:gd name="T1" fmla="*/ 0 w 307"/>
                <a:gd name="T2" fmla="*/ 307 w 30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07">
                  <a:moveTo>
                    <a:pt x="0" y="0"/>
                  </a:moveTo>
                  <a:lnTo>
                    <a:pt x="0" y="0"/>
                  </a:lnTo>
                  <a:lnTo>
                    <a:pt x="307" y="0"/>
                  </a:ln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9" name="Freeform 59">
              <a:extLst>
                <a:ext uri="{FF2B5EF4-FFF2-40B4-BE49-F238E27FC236}">
                  <a16:creationId xmlns:a16="http://schemas.microsoft.com/office/drawing/2014/main" id="{392F2B57-3206-49CD-BE25-FE96C7BF79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438" y="2857500"/>
              <a:ext cx="106363" cy="0"/>
            </a:xfrm>
            <a:custGeom>
              <a:avLst/>
              <a:gdLst>
                <a:gd name="T0" fmla="*/ 0 w 106"/>
                <a:gd name="T1" fmla="*/ 0 w 106"/>
                <a:gd name="T2" fmla="*/ 106 w 10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06">
                  <a:moveTo>
                    <a:pt x="0" y="0"/>
                  </a:moveTo>
                  <a:lnTo>
                    <a:pt x="0" y="0"/>
                  </a:lnTo>
                  <a:lnTo>
                    <a:pt x="106" y="0"/>
                  </a:ln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0" name="Freeform 60">
              <a:extLst>
                <a:ext uri="{FF2B5EF4-FFF2-40B4-BE49-F238E27FC236}">
                  <a16:creationId xmlns:a16="http://schemas.microsoft.com/office/drawing/2014/main" id="{F56BA0FD-A5B3-4FD3-8F2C-16C006E69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438" y="2830513"/>
              <a:ext cx="106363" cy="0"/>
            </a:xfrm>
            <a:custGeom>
              <a:avLst/>
              <a:gdLst>
                <a:gd name="T0" fmla="*/ 0 w 106"/>
                <a:gd name="T1" fmla="*/ 0 w 106"/>
                <a:gd name="T2" fmla="*/ 106 w 10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06">
                  <a:moveTo>
                    <a:pt x="0" y="0"/>
                  </a:moveTo>
                  <a:lnTo>
                    <a:pt x="0" y="0"/>
                  </a:lnTo>
                  <a:lnTo>
                    <a:pt x="106" y="0"/>
                  </a:ln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1" name="Freeform 61">
              <a:extLst>
                <a:ext uri="{FF2B5EF4-FFF2-40B4-BE49-F238E27FC236}">
                  <a16:creationId xmlns:a16="http://schemas.microsoft.com/office/drawing/2014/main" id="{7E2973B0-D734-4875-96BB-1B278B96CF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438" y="2801938"/>
              <a:ext cx="106363" cy="0"/>
            </a:xfrm>
            <a:custGeom>
              <a:avLst/>
              <a:gdLst>
                <a:gd name="T0" fmla="*/ 0 w 106"/>
                <a:gd name="T1" fmla="*/ 0 w 106"/>
                <a:gd name="T2" fmla="*/ 106 w 10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06">
                  <a:moveTo>
                    <a:pt x="0" y="0"/>
                  </a:moveTo>
                  <a:lnTo>
                    <a:pt x="0" y="0"/>
                  </a:lnTo>
                  <a:lnTo>
                    <a:pt x="106" y="0"/>
                  </a:ln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2" name="Freeform 62">
              <a:extLst>
                <a:ext uri="{FF2B5EF4-FFF2-40B4-BE49-F238E27FC236}">
                  <a16:creationId xmlns:a16="http://schemas.microsoft.com/office/drawing/2014/main" id="{7AB7B910-3260-489C-87DC-A9E68BA86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68438" y="2776538"/>
              <a:ext cx="53975" cy="0"/>
            </a:xfrm>
            <a:custGeom>
              <a:avLst/>
              <a:gdLst>
                <a:gd name="T0" fmla="*/ 0 w 53"/>
                <a:gd name="T1" fmla="*/ 0 w 53"/>
                <a:gd name="T2" fmla="*/ 53 w 5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3">
                  <a:moveTo>
                    <a:pt x="0" y="0"/>
                  </a:moveTo>
                  <a:lnTo>
                    <a:pt x="0" y="0"/>
                  </a:lnTo>
                  <a:lnTo>
                    <a:pt x="53" y="0"/>
                  </a:ln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" name="Freeform 63">
              <a:extLst>
                <a:ext uri="{FF2B5EF4-FFF2-40B4-BE49-F238E27FC236}">
                  <a16:creationId xmlns:a16="http://schemas.microsoft.com/office/drawing/2014/main" id="{4A8B1C69-9459-4158-B065-28A5ABD56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9388" y="2646363"/>
              <a:ext cx="12700" cy="14288"/>
            </a:xfrm>
            <a:custGeom>
              <a:avLst/>
              <a:gdLst>
                <a:gd name="T0" fmla="*/ 13 w 13"/>
                <a:gd name="T1" fmla="*/ 6 h 13"/>
                <a:gd name="T2" fmla="*/ 13 w 13"/>
                <a:gd name="T3" fmla="*/ 6 h 13"/>
                <a:gd name="T4" fmla="*/ 6 w 13"/>
                <a:gd name="T5" fmla="*/ 13 h 13"/>
                <a:gd name="T6" fmla="*/ 0 w 13"/>
                <a:gd name="T7" fmla="*/ 6 h 13"/>
                <a:gd name="T8" fmla="*/ 6 w 13"/>
                <a:gd name="T9" fmla="*/ 0 h 13"/>
                <a:gd name="T10" fmla="*/ 13 w 13"/>
                <a:gd name="T11" fmla="*/ 6 h 13"/>
                <a:gd name="T12" fmla="*/ 13 w 13"/>
                <a:gd name="T1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3">
                  <a:moveTo>
                    <a:pt x="13" y="6"/>
                  </a:moveTo>
                  <a:lnTo>
                    <a:pt x="13" y="6"/>
                  </a:lnTo>
                  <a:cubicBezTo>
                    <a:pt x="13" y="10"/>
                    <a:pt x="10" y="13"/>
                    <a:pt x="6" y="13"/>
                  </a:cubicBez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6"/>
                  </a:cubicBezTo>
                  <a:lnTo>
                    <a:pt x="13" y="6"/>
                  </a:ln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8212B126-6549-4A4A-80CD-A37214813216}"/>
              </a:ext>
            </a:extLst>
          </p:cNvPr>
          <p:cNvGrpSpPr/>
          <p:nvPr/>
        </p:nvGrpSpPr>
        <p:grpSpPr>
          <a:xfrm>
            <a:off x="866589" y="4877588"/>
            <a:ext cx="406401" cy="408517"/>
            <a:chOff x="5216525" y="2701930"/>
            <a:chExt cx="304801" cy="306388"/>
          </a:xfrm>
          <a:solidFill>
            <a:schemeClr val="accent1"/>
          </a:solidFill>
        </p:grpSpPr>
        <p:sp>
          <p:nvSpPr>
            <p:cNvPr id="65" name="Freeform 327">
              <a:extLst>
                <a:ext uri="{FF2B5EF4-FFF2-40B4-BE49-F238E27FC236}">
                  <a16:creationId xmlns:a16="http://schemas.microsoft.com/office/drawing/2014/main" id="{C98F5676-CDBE-4EE0-86D9-96F89026C5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525" y="2701930"/>
              <a:ext cx="185738" cy="306388"/>
            </a:xfrm>
            <a:custGeom>
              <a:avLst/>
              <a:gdLst>
                <a:gd name="T0" fmla="*/ 93 w 187"/>
                <a:gd name="T1" fmla="*/ 307 h 307"/>
                <a:gd name="T2" fmla="*/ 93 w 187"/>
                <a:gd name="T3" fmla="*/ 307 h 307"/>
                <a:gd name="T4" fmla="*/ 27 w 187"/>
                <a:gd name="T5" fmla="*/ 307 h 307"/>
                <a:gd name="T6" fmla="*/ 0 w 187"/>
                <a:gd name="T7" fmla="*/ 280 h 307"/>
                <a:gd name="T8" fmla="*/ 0 w 187"/>
                <a:gd name="T9" fmla="*/ 27 h 307"/>
                <a:gd name="T10" fmla="*/ 27 w 187"/>
                <a:gd name="T11" fmla="*/ 0 h 307"/>
                <a:gd name="T12" fmla="*/ 160 w 187"/>
                <a:gd name="T13" fmla="*/ 0 h 307"/>
                <a:gd name="T14" fmla="*/ 187 w 187"/>
                <a:gd name="T15" fmla="*/ 27 h 307"/>
                <a:gd name="T16" fmla="*/ 187 w 187"/>
                <a:gd name="T17" fmla="*/ 14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7" h="307">
                  <a:moveTo>
                    <a:pt x="93" y="307"/>
                  </a:moveTo>
                  <a:lnTo>
                    <a:pt x="93" y="307"/>
                  </a:lnTo>
                  <a:lnTo>
                    <a:pt x="27" y="307"/>
                  </a:lnTo>
                  <a:cubicBezTo>
                    <a:pt x="12" y="307"/>
                    <a:pt x="0" y="295"/>
                    <a:pt x="0" y="280"/>
                  </a:cubicBezTo>
                  <a:lnTo>
                    <a:pt x="0" y="27"/>
                  </a:lnTo>
                  <a:cubicBezTo>
                    <a:pt x="0" y="12"/>
                    <a:pt x="12" y="0"/>
                    <a:pt x="27" y="0"/>
                  </a:cubicBezTo>
                  <a:lnTo>
                    <a:pt x="160" y="0"/>
                  </a:lnTo>
                  <a:cubicBezTo>
                    <a:pt x="175" y="0"/>
                    <a:pt x="187" y="12"/>
                    <a:pt x="187" y="27"/>
                  </a:cubicBezTo>
                  <a:lnTo>
                    <a:pt x="187" y="147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6" name="Freeform 328">
              <a:extLst>
                <a:ext uri="{FF2B5EF4-FFF2-40B4-BE49-F238E27FC236}">
                  <a16:creationId xmlns:a16="http://schemas.microsoft.com/office/drawing/2014/main" id="{99430C95-3E8F-4EAD-AFDF-75A7E83B0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525" y="2755905"/>
              <a:ext cx="185738" cy="0"/>
            </a:xfrm>
            <a:custGeom>
              <a:avLst/>
              <a:gdLst>
                <a:gd name="T0" fmla="*/ 187 w 187"/>
                <a:gd name="T1" fmla="*/ 187 w 187"/>
                <a:gd name="T2" fmla="*/ 0 w 18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87">
                  <a:moveTo>
                    <a:pt x="187" y="0"/>
                  </a:moveTo>
                  <a:lnTo>
                    <a:pt x="187" y="0"/>
                  </a:lnTo>
                  <a:lnTo>
                    <a:pt x="0" y="0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" name="Freeform 329">
              <a:extLst>
                <a:ext uri="{FF2B5EF4-FFF2-40B4-BE49-F238E27FC236}">
                  <a16:creationId xmlns:a16="http://schemas.microsoft.com/office/drawing/2014/main" id="{29A48127-45FC-4DE2-89B5-04EDA16A69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525" y="2955930"/>
              <a:ext cx="92075" cy="0"/>
            </a:xfrm>
            <a:custGeom>
              <a:avLst/>
              <a:gdLst>
                <a:gd name="T0" fmla="*/ 93 w 93"/>
                <a:gd name="T1" fmla="*/ 93 w 93"/>
                <a:gd name="T2" fmla="*/ 0 w 9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3">
                  <a:moveTo>
                    <a:pt x="93" y="0"/>
                  </a:moveTo>
                  <a:lnTo>
                    <a:pt x="93" y="0"/>
                  </a:lnTo>
                  <a:lnTo>
                    <a:pt x="0" y="0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8" name="Freeform 330">
              <a:extLst>
                <a:ext uri="{FF2B5EF4-FFF2-40B4-BE49-F238E27FC236}">
                  <a16:creationId xmlns:a16="http://schemas.microsoft.com/office/drawing/2014/main" id="{A33EFAD8-4511-47E4-80CA-D0D14E78A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3200" y="2728918"/>
              <a:ext cx="52388" cy="0"/>
            </a:xfrm>
            <a:custGeom>
              <a:avLst/>
              <a:gdLst>
                <a:gd name="T0" fmla="*/ 0 w 53"/>
                <a:gd name="T1" fmla="*/ 0 w 53"/>
                <a:gd name="T2" fmla="*/ 53 w 5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3">
                  <a:moveTo>
                    <a:pt x="0" y="0"/>
                  </a:moveTo>
                  <a:lnTo>
                    <a:pt x="0" y="0"/>
                  </a:lnTo>
                  <a:lnTo>
                    <a:pt x="53" y="0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9" name="Freeform 331">
              <a:extLst>
                <a:ext uri="{FF2B5EF4-FFF2-40B4-BE49-F238E27FC236}">
                  <a16:creationId xmlns:a16="http://schemas.microsoft.com/office/drawing/2014/main" id="{1EA63771-B876-4BE9-9F93-F5D503D60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250" y="2974980"/>
              <a:ext cx="6350" cy="12700"/>
            </a:xfrm>
            <a:custGeom>
              <a:avLst/>
              <a:gdLst>
                <a:gd name="T0" fmla="*/ 6 w 6"/>
                <a:gd name="T1" fmla="*/ 13 h 13"/>
                <a:gd name="T2" fmla="*/ 6 w 6"/>
                <a:gd name="T3" fmla="*/ 13 h 13"/>
                <a:gd name="T4" fmla="*/ 0 w 6"/>
                <a:gd name="T5" fmla="*/ 6 h 13"/>
                <a:gd name="T6" fmla="*/ 6 w 6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3">
                  <a:moveTo>
                    <a:pt x="6" y="13"/>
                  </a:moveTo>
                  <a:lnTo>
                    <a:pt x="6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" name="Freeform 332">
              <a:extLst>
                <a:ext uri="{FF2B5EF4-FFF2-40B4-BE49-F238E27FC236}">
                  <a16:creationId xmlns:a16="http://schemas.microsoft.com/office/drawing/2014/main" id="{FCF2CDA2-C7AB-4F4C-9DC5-D1B1722A9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5588" y="2914655"/>
              <a:ext cx="185738" cy="0"/>
            </a:xfrm>
            <a:custGeom>
              <a:avLst/>
              <a:gdLst>
                <a:gd name="T0" fmla="*/ 0 w 187"/>
                <a:gd name="T1" fmla="*/ 0 w 187"/>
                <a:gd name="T2" fmla="*/ 187 w 18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87">
                  <a:moveTo>
                    <a:pt x="0" y="0"/>
                  </a:moveTo>
                  <a:lnTo>
                    <a:pt x="0" y="0"/>
                  </a:lnTo>
                  <a:lnTo>
                    <a:pt x="187" y="0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" name="Freeform 333">
              <a:extLst>
                <a:ext uri="{FF2B5EF4-FFF2-40B4-BE49-F238E27FC236}">
                  <a16:creationId xmlns:a16="http://schemas.microsoft.com/office/drawing/2014/main" id="{2657E846-B6CE-4B7C-A0AE-9EE6F3AA8D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2575" y="2941643"/>
              <a:ext cx="52388" cy="0"/>
            </a:xfrm>
            <a:custGeom>
              <a:avLst/>
              <a:gdLst>
                <a:gd name="T0" fmla="*/ 53 w 53"/>
                <a:gd name="T1" fmla="*/ 53 w 53"/>
                <a:gd name="T2" fmla="*/ 0 w 5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53">
                  <a:moveTo>
                    <a:pt x="53" y="0"/>
                  </a:moveTo>
                  <a:lnTo>
                    <a:pt x="53" y="0"/>
                  </a:lnTo>
                  <a:lnTo>
                    <a:pt x="0" y="0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2" name="Freeform 334">
              <a:extLst>
                <a:ext uri="{FF2B5EF4-FFF2-40B4-BE49-F238E27FC236}">
                  <a16:creationId xmlns:a16="http://schemas.microsoft.com/office/drawing/2014/main" id="{B4F6BD82-CE52-447D-8145-D11934F4C4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7350" y="2941643"/>
              <a:ext cx="26988" cy="0"/>
            </a:xfrm>
            <a:custGeom>
              <a:avLst/>
              <a:gdLst>
                <a:gd name="T0" fmla="*/ 27 w 27"/>
                <a:gd name="T1" fmla="*/ 27 w 27"/>
                <a:gd name="T2" fmla="*/ 0 w 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7">
                  <a:moveTo>
                    <a:pt x="27" y="0"/>
                  </a:move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" name="Freeform 335">
              <a:extLst>
                <a:ext uri="{FF2B5EF4-FFF2-40B4-BE49-F238E27FC236}">
                  <a16:creationId xmlns:a16="http://schemas.microsoft.com/office/drawing/2014/main" id="{D10A276F-66FF-432A-BACE-1CF27175A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2575" y="2968630"/>
              <a:ext cx="25400" cy="0"/>
            </a:xfrm>
            <a:custGeom>
              <a:avLst/>
              <a:gdLst>
                <a:gd name="T0" fmla="*/ 26 w 26"/>
                <a:gd name="T1" fmla="*/ 26 w 26"/>
                <a:gd name="T2" fmla="*/ 0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26" y="0"/>
                  </a:move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4" name="Freeform 336">
              <a:extLst>
                <a:ext uri="{FF2B5EF4-FFF2-40B4-BE49-F238E27FC236}">
                  <a16:creationId xmlns:a16="http://schemas.microsoft.com/office/drawing/2014/main" id="{A7EC6F1A-5292-426E-9012-B04034835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5588" y="2874968"/>
              <a:ext cx="185738" cy="133350"/>
            </a:xfrm>
            <a:custGeom>
              <a:avLst/>
              <a:gdLst>
                <a:gd name="T0" fmla="*/ 187 w 187"/>
                <a:gd name="T1" fmla="*/ 106 h 133"/>
                <a:gd name="T2" fmla="*/ 187 w 187"/>
                <a:gd name="T3" fmla="*/ 106 h 133"/>
                <a:gd name="T4" fmla="*/ 160 w 187"/>
                <a:gd name="T5" fmla="*/ 133 h 133"/>
                <a:gd name="T6" fmla="*/ 27 w 187"/>
                <a:gd name="T7" fmla="*/ 133 h 133"/>
                <a:gd name="T8" fmla="*/ 0 w 187"/>
                <a:gd name="T9" fmla="*/ 106 h 133"/>
                <a:gd name="T10" fmla="*/ 0 w 187"/>
                <a:gd name="T11" fmla="*/ 26 h 133"/>
                <a:gd name="T12" fmla="*/ 27 w 187"/>
                <a:gd name="T13" fmla="*/ 0 h 133"/>
                <a:gd name="T14" fmla="*/ 160 w 187"/>
                <a:gd name="T15" fmla="*/ 0 h 133"/>
                <a:gd name="T16" fmla="*/ 187 w 187"/>
                <a:gd name="T17" fmla="*/ 26 h 133"/>
                <a:gd name="T18" fmla="*/ 187 w 187"/>
                <a:gd name="T19" fmla="*/ 106 h 133"/>
                <a:gd name="T20" fmla="*/ 187 w 187"/>
                <a:gd name="T21" fmla="*/ 106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7" h="133">
                  <a:moveTo>
                    <a:pt x="187" y="106"/>
                  </a:moveTo>
                  <a:lnTo>
                    <a:pt x="187" y="106"/>
                  </a:lnTo>
                  <a:cubicBezTo>
                    <a:pt x="187" y="121"/>
                    <a:pt x="175" y="133"/>
                    <a:pt x="160" y="133"/>
                  </a:cubicBezTo>
                  <a:lnTo>
                    <a:pt x="27" y="133"/>
                  </a:lnTo>
                  <a:cubicBezTo>
                    <a:pt x="12" y="133"/>
                    <a:pt x="0" y="121"/>
                    <a:pt x="0" y="106"/>
                  </a:cubicBezTo>
                  <a:lnTo>
                    <a:pt x="0" y="26"/>
                  </a:lnTo>
                  <a:cubicBezTo>
                    <a:pt x="0" y="11"/>
                    <a:pt x="12" y="0"/>
                    <a:pt x="27" y="0"/>
                  </a:cubicBezTo>
                  <a:lnTo>
                    <a:pt x="160" y="0"/>
                  </a:lnTo>
                  <a:cubicBezTo>
                    <a:pt x="175" y="0"/>
                    <a:pt x="187" y="11"/>
                    <a:pt x="187" y="26"/>
                  </a:cubicBezTo>
                  <a:lnTo>
                    <a:pt x="187" y="106"/>
                  </a:lnTo>
                  <a:lnTo>
                    <a:pt x="187" y="106"/>
                  </a:lnTo>
                  <a:close/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5" name="Freeform 337">
              <a:extLst>
                <a:ext uri="{FF2B5EF4-FFF2-40B4-BE49-F238E27FC236}">
                  <a16:creationId xmlns:a16="http://schemas.microsoft.com/office/drawing/2014/main" id="{18C2E7BE-658C-4AB7-A8A9-514B589CF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1138" y="2808293"/>
              <a:ext cx="36513" cy="73025"/>
            </a:xfrm>
            <a:custGeom>
              <a:avLst/>
              <a:gdLst>
                <a:gd name="T0" fmla="*/ 0 w 37"/>
                <a:gd name="T1" fmla="*/ 56 h 74"/>
                <a:gd name="T2" fmla="*/ 0 w 37"/>
                <a:gd name="T3" fmla="*/ 56 h 74"/>
                <a:gd name="T4" fmla="*/ 19 w 37"/>
                <a:gd name="T5" fmla="*/ 74 h 74"/>
                <a:gd name="T6" fmla="*/ 37 w 37"/>
                <a:gd name="T7" fmla="*/ 56 h 74"/>
                <a:gd name="T8" fmla="*/ 19 w 37"/>
                <a:gd name="T9" fmla="*/ 37 h 74"/>
                <a:gd name="T10" fmla="*/ 0 w 37"/>
                <a:gd name="T11" fmla="*/ 18 h 74"/>
                <a:gd name="T12" fmla="*/ 19 w 37"/>
                <a:gd name="T13" fmla="*/ 0 h 74"/>
                <a:gd name="T14" fmla="*/ 37 w 37"/>
                <a:gd name="T15" fmla="*/ 18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74">
                  <a:moveTo>
                    <a:pt x="0" y="56"/>
                  </a:moveTo>
                  <a:lnTo>
                    <a:pt x="0" y="56"/>
                  </a:lnTo>
                  <a:cubicBezTo>
                    <a:pt x="0" y="66"/>
                    <a:pt x="8" y="74"/>
                    <a:pt x="19" y="74"/>
                  </a:cubicBezTo>
                  <a:cubicBezTo>
                    <a:pt x="29" y="74"/>
                    <a:pt x="37" y="66"/>
                    <a:pt x="37" y="56"/>
                  </a:cubicBezTo>
                  <a:cubicBezTo>
                    <a:pt x="37" y="45"/>
                    <a:pt x="29" y="37"/>
                    <a:pt x="19" y="37"/>
                  </a:cubicBezTo>
                  <a:cubicBezTo>
                    <a:pt x="8" y="37"/>
                    <a:pt x="0" y="29"/>
                    <a:pt x="0" y="18"/>
                  </a:cubicBezTo>
                  <a:cubicBezTo>
                    <a:pt x="0" y="8"/>
                    <a:pt x="8" y="0"/>
                    <a:pt x="19" y="0"/>
                  </a:cubicBezTo>
                  <a:cubicBezTo>
                    <a:pt x="29" y="0"/>
                    <a:pt x="37" y="8"/>
                    <a:pt x="37" y="18"/>
                  </a:cubicBez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" name="Freeform 338">
              <a:extLst>
                <a:ext uri="{FF2B5EF4-FFF2-40B4-BE49-F238E27FC236}">
                  <a16:creationId xmlns:a16="http://schemas.microsoft.com/office/drawing/2014/main" id="{B1BBADC3-8FCF-4557-B980-778D6E10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8600" y="2881318"/>
              <a:ext cx="0" cy="12700"/>
            </a:xfrm>
            <a:custGeom>
              <a:avLst/>
              <a:gdLst>
                <a:gd name="T0" fmla="*/ 0 h 12"/>
                <a:gd name="T1" fmla="*/ 0 h 12"/>
                <a:gd name="T2" fmla="*/ 12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2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" name="Freeform 339">
              <a:extLst>
                <a:ext uri="{FF2B5EF4-FFF2-40B4-BE49-F238E27FC236}">
                  <a16:creationId xmlns:a16="http://schemas.microsoft.com/office/drawing/2014/main" id="{A76F9DDD-35FE-4D32-9028-566CB3DAB3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8600" y="2795593"/>
              <a:ext cx="0" cy="12700"/>
            </a:xfrm>
            <a:custGeom>
              <a:avLst/>
              <a:gdLst>
                <a:gd name="T0" fmla="*/ 0 h 12"/>
                <a:gd name="T1" fmla="*/ 0 h 12"/>
                <a:gd name="T2" fmla="*/ 12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2">
                  <a:moveTo>
                    <a:pt x="0" y="0"/>
                  </a:moveTo>
                  <a:lnTo>
                    <a:pt x="0" y="0"/>
                  </a:lnTo>
                  <a:lnTo>
                    <a:pt x="0" y="12"/>
                  </a:lnTo>
                </a:path>
              </a:pathLst>
            </a:custGeom>
            <a:grp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grpSp>
        <p:nvGrpSpPr>
          <p:cNvPr id="2" name="Grafik 15">
            <a:extLst>
              <a:ext uri="{FF2B5EF4-FFF2-40B4-BE49-F238E27FC236}">
                <a16:creationId xmlns:a16="http://schemas.microsoft.com/office/drawing/2014/main" id="{193962B3-8078-370D-4245-6D31756D0E08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4" name="Grafik 15">
              <a:extLst>
                <a:ext uri="{FF2B5EF4-FFF2-40B4-BE49-F238E27FC236}">
                  <a16:creationId xmlns:a16="http://schemas.microsoft.com/office/drawing/2014/main" id="{3E460DC5-C215-A94E-361B-CDB2734AD7F8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20" name="Freihandform 37">
                <a:extLst>
                  <a:ext uri="{FF2B5EF4-FFF2-40B4-BE49-F238E27FC236}">
                    <a16:creationId xmlns:a16="http://schemas.microsoft.com/office/drawing/2014/main" id="{CC31F825-5B35-2CF4-D6A4-ACEFD9486D86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1" name="Freihandform 38">
                <a:extLst>
                  <a:ext uri="{FF2B5EF4-FFF2-40B4-BE49-F238E27FC236}">
                    <a16:creationId xmlns:a16="http://schemas.microsoft.com/office/drawing/2014/main" id="{DDA191C6-2D69-39A5-6C0D-2E55F723067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2" name="Freihandform 39">
                <a:extLst>
                  <a:ext uri="{FF2B5EF4-FFF2-40B4-BE49-F238E27FC236}">
                    <a16:creationId xmlns:a16="http://schemas.microsoft.com/office/drawing/2014/main" id="{67A91756-D179-826C-00A1-1E5BF5642AEB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3" name="Freihandform 40">
                <a:extLst>
                  <a:ext uri="{FF2B5EF4-FFF2-40B4-BE49-F238E27FC236}">
                    <a16:creationId xmlns:a16="http://schemas.microsoft.com/office/drawing/2014/main" id="{7E71ACF4-3774-D277-7C64-91EC268B3BFD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24" name="Freihandform 41">
                <a:extLst>
                  <a:ext uri="{FF2B5EF4-FFF2-40B4-BE49-F238E27FC236}">
                    <a16:creationId xmlns:a16="http://schemas.microsoft.com/office/drawing/2014/main" id="{C035EF34-31B8-0C9D-537B-35B80F88D89C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" name="Grafik 15">
              <a:extLst>
                <a:ext uri="{FF2B5EF4-FFF2-40B4-BE49-F238E27FC236}">
                  <a16:creationId xmlns:a16="http://schemas.microsoft.com/office/drawing/2014/main" id="{1DBA6457-E905-A029-A500-AFA573821382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8" name="Freihandform 35">
                <a:extLst>
                  <a:ext uri="{FF2B5EF4-FFF2-40B4-BE49-F238E27FC236}">
                    <a16:creationId xmlns:a16="http://schemas.microsoft.com/office/drawing/2014/main" id="{06E73CC3-1273-B214-027E-60B7496B2982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9" name="Freihandform 36">
                <a:extLst>
                  <a:ext uri="{FF2B5EF4-FFF2-40B4-BE49-F238E27FC236}">
                    <a16:creationId xmlns:a16="http://schemas.microsoft.com/office/drawing/2014/main" id="{C4813534-6352-985D-9C69-EDD879C584F7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13" name="Grafik 15">
              <a:extLst>
                <a:ext uri="{FF2B5EF4-FFF2-40B4-BE49-F238E27FC236}">
                  <a16:creationId xmlns:a16="http://schemas.microsoft.com/office/drawing/2014/main" id="{DCC4E84C-0C98-34B8-98C4-397B4F3D14AC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14" name="Freihandform 31">
                <a:extLst>
                  <a:ext uri="{FF2B5EF4-FFF2-40B4-BE49-F238E27FC236}">
                    <a16:creationId xmlns:a16="http://schemas.microsoft.com/office/drawing/2014/main" id="{4195FF58-7D69-0569-D2E8-13F1DAA4B3D0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5" name="Freihandform 32">
                <a:extLst>
                  <a:ext uri="{FF2B5EF4-FFF2-40B4-BE49-F238E27FC236}">
                    <a16:creationId xmlns:a16="http://schemas.microsoft.com/office/drawing/2014/main" id="{9F38FCEF-38D7-D8FF-D069-955D802DBB57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 33">
                <a:extLst>
                  <a:ext uri="{FF2B5EF4-FFF2-40B4-BE49-F238E27FC236}">
                    <a16:creationId xmlns:a16="http://schemas.microsoft.com/office/drawing/2014/main" id="{80E28A4B-2921-9F8F-6FB9-FB3BC4994084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7" name="Freihandform 34">
                <a:extLst>
                  <a:ext uri="{FF2B5EF4-FFF2-40B4-BE49-F238E27FC236}">
                    <a16:creationId xmlns:a16="http://schemas.microsoft.com/office/drawing/2014/main" id="{F42E7F6B-6B4D-5337-4A37-F6CB066D50C0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873734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el 37"/>
          <p:cNvSpPr>
            <a:spLocks noGrp="1"/>
          </p:cNvSpPr>
          <p:nvPr>
            <p:ph type="title"/>
          </p:nvPr>
        </p:nvSpPr>
        <p:spPr>
          <a:xfrm>
            <a:off x="371475" y="455175"/>
            <a:ext cx="7648248" cy="590349"/>
          </a:xfrm>
        </p:spPr>
        <p:txBody>
          <a:bodyPr/>
          <a:lstStyle/>
          <a:p>
            <a:r>
              <a:rPr lang="en-US" sz="4000" dirty="0">
                <a:solidFill>
                  <a:schemeClr val="accent2"/>
                </a:solidFill>
              </a:rPr>
              <a:t>Current METRO Use Cases</a:t>
            </a:r>
          </a:p>
        </p:txBody>
      </p:sp>
      <p:sp>
        <p:nvSpPr>
          <p:cNvPr id="39" name="Inhaltsplatzhalter 38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marL="556186" indent="-457189">
              <a:spcBef>
                <a:spcPts val="800"/>
              </a:spcBef>
              <a:buFont typeface="+mj-lt"/>
              <a:buAutoNum type="arabicPeriod"/>
            </a:pPr>
            <a:r>
              <a:rPr lang="en-US" sz="1900" dirty="0"/>
              <a:t>METRO verify product before Listing </a:t>
            </a:r>
          </a:p>
          <a:p>
            <a:pPr marL="556186" indent="-457189">
              <a:spcBef>
                <a:spcPts val="800"/>
              </a:spcBef>
              <a:buFont typeface="+mj-lt"/>
              <a:buAutoNum type="arabicPeriod"/>
            </a:pPr>
            <a:r>
              <a:rPr lang="en-US" sz="1900" dirty="0"/>
              <a:t>METRO verify active assortment </a:t>
            </a:r>
          </a:p>
          <a:p>
            <a:pPr marL="556186" indent="-457189">
              <a:spcBef>
                <a:spcPts val="800"/>
              </a:spcBef>
              <a:buFont typeface="+mj-lt"/>
              <a:buAutoNum type="arabicPeriod"/>
            </a:pPr>
            <a:r>
              <a:rPr lang="en-US" sz="1900" dirty="0"/>
              <a:t>METRO verify Marketplace product before Listing</a:t>
            </a:r>
          </a:p>
          <a:p>
            <a:pPr marL="556186" indent="-457189">
              <a:spcBef>
                <a:spcPts val="800"/>
              </a:spcBef>
              <a:buFont typeface="+mj-lt"/>
              <a:buAutoNum type="arabicPeriod"/>
            </a:pPr>
            <a:r>
              <a:rPr lang="en-US" sz="1900" dirty="0"/>
              <a:t>METRO Customer verify products</a:t>
            </a:r>
          </a:p>
          <a:p>
            <a:pPr marL="556186" indent="-457189">
              <a:spcBef>
                <a:spcPts val="800"/>
              </a:spcBef>
              <a:buFont typeface="+mj-lt"/>
              <a:buAutoNum type="arabicPeriod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72AB7F-E8D0-4874-A9B8-335B68DC5F05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3B7D"/>
                </a:solidFill>
                <a:effectLst/>
                <a:uLnTx/>
                <a:uFillTx/>
                <a:latin typeface="Verdana"/>
                <a:ea typeface="+mn-ea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3B7D"/>
              </a:solidFill>
              <a:effectLst/>
              <a:uLnTx/>
              <a:uFillTx/>
              <a:latin typeface="Verdana"/>
              <a:ea typeface="+mn-ea"/>
            </a:endParaRPr>
          </a:p>
        </p:txBody>
      </p:sp>
      <p:cxnSp>
        <p:nvCxnSpPr>
          <p:cNvPr id="52" name="Gerade Verbindung mit Pfeil 51"/>
          <p:cNvCxnSpPr/>
          <p:nvPr/>
        </p:nvCxnSpPr>
        <p:spPr>
          <a:xfrm>
            <a:off x="8124933" y="5849812"/>
            <a:ext cx="192000" cy="0"/>
          </a:xfrm>
          <a:prstGeom prst="straightConnector1">
            <a:avLst/>
          </a:prstGeom>
          <a:ln w="19050">
            <a:solidFill>
              <a:srgbClr val="FF8200"/>
            </a:solidFill>
            <a:prstDash val="solid"/>
            <a:headEnd w="sm" len="sm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/>
          <p:cNvCxnSpPr/>
          <p:nvPr/>
        </p:nvCxnSpPr>
        <p:spPr>
          <a:xfrm>
            <a:off x="10368599" y="5849813"/>
            <a:ext cx="240000" cy="1"/>
          </a:xfrm>
          <a:prstGeom prst="straightConnector1">
            <a:avLst/>
          </a:prstGeom>
          <a:ln w="19050">
            <a:solidFill>
              <a:srgbClr val="454545"/>
            </a:solidFill>
            <a:prstDash val="solid"/>
            <a:headEnd type="triangle" w="sm" len="med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54"/>
          <p:cNvSpPr txBox="1"/>
          <p:nvPr/>
        </p:nvSpPr>
        <p:spPr>
          <a:xfrm>
            <a:off x="8335593" y="5721572"/>
            <a:ext cx="1661028" cy="261608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flow (simplified)</a:t>
            </a:r>
          </a:p>
        </p:txBody>
      </p:sp>
      <p:sp>
        <p:nvSpPr>
          <p:cNvPr id="56" name="Textfeld 55"/>
          <p:cNvSpPr txBox="1"/>
          <p:nvPr/>
        </p:nvSpPr>
        <p:spPr>
          <a:xfrm>
            <a:off x="10627258" y="5721572"/>
            <a:ext cx="981355" cy="261608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rification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601785" y="3369966"/>
            <a:ext cx="10985993" cy="2317359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Textfeld 7">
            <a:extLst>
              <a:ext uri="{FF2B5EF4-FFF2-40B4-BE49-F238E27FC236}">
                <a16:creationId xmlns:a16="http://schemas.microsoft.com/office/drawing/2014/main" id="{96A557C2-0B21-184E-AEEA-2A02271D30A5}"/>
              </a:ext>
            </a:extLst>
          </p:cNvPr>
          <p:cNvSpPr txBox="1"/>
          <p:nvPr/>
        </p:nvSpPr>
        <p:spPr>
          <a:xfrm>
            <a:off x="5549986" y="3470593"/>
            <a:ext cx="1876617" cy="471072"/>
          </a:xfrm>
          <a:prstGeom prst="rect">
            <a:avLst/>
          </a:prstGeom>
          <a:solidFill>
            <a:srgbClr val="F26334"/>
          </a:solidFill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91438" tIns="45719" rIns="91438" bIns="45719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CA Metro" charset="0"/>
                <a:cs typeface="CA Metro" charset="0"/>
              </a:rPr>
              <a:t>Verified by GS1</a:t>
            </a:r>
          </a:p>
        </p:txBody>
      </p:sp>
      <p:sp>
        <p:nvSpPr>
          <p:cNvPr id="43" name="Textfeld 7">
            <a:extLst>
              <a:ext uri="{FF2B5EF4-FFF2-40B4-BE49-F238E27FC236}">
                <a16:creationId xmlns:a16="http://schemas.microsoft.com/office/drawing/2014/main" id="{96A557C2-0B21-184E-AEEA-2A02271D30A5}"/>
              </a:ext>
            </a:extLst>
          </p:cNvPr>
          <p:cNvSpPr txBox="1"/>
          <p:nvPr/>
        </p:nvSpPr>
        <p:spPr>
          <a:xfrm>
            <a:off x="1555593" y="4018937"/>
            <a:ext cx="1876617" cy="471072"/>
          </a:xfrm>
          <a:prstGeom prst="rect">
            <a:avLst/>
          </a:prstGeom>
          <a:solidFill>
            <a:srgbClr val="00B6DE"/>
          </a:solidFill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91438" tIns="45719" rIns="91438" bIns="45719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CA Metro" charset="0"/>
                <a:cs typeface="CA Metro" charset="0"/>
              </a:rPr>
              <a:t>Brand Owner</a:t>
            </a:r>
          </a:p>
        </p:txBody>
      </p:sp>
      <p:sp>
        <p:nvSpPr>
          <p:cNvPr id="44" name="Textfeld 7">
            <a:extLst>
              <a:ext uri="{FF2B5EF4-FFF2-40B4-BE49-F238E27FC236}">
                <a16:creationId xmlns:a16="http://schemas.microsoft.com/office/drawing/2014/main" id="{96A557C2-0B21-184E-AEEA-2A02271D30A5}"/>
              </a:ext>
            </a:extLst>
          </p:cNvPr>
          <p:cNvSpPr txBox="1"/>
          <p:nvPr/>
        </p:nvSpPr>
        <p:spPr>
          <a:xfrm>
            <a:off x="2219169" y="4567281"/>
            <a:ext cx="1876617" cy="471072"/>
          </a:xfrm>
          <a:prstGeom prst="rect">
            <a:avLst/>
          </a:prstGeom>
          <a:solidFill>
            <a:srgbClr val="00B6DE"/>
          </a:solidFill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91438" tIns="45719" rIns="91438" bIns="45719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CA Metro" charset="0"/>
                <a:cs typeface="CA Metro" charset="0"/>
              </a:rPr>
              <a:t>Distributor</a:t>
            </a:r>
          </a:p>
        </p:txBody>
      </p:sp>
      <p:sp>
        <p:nvSpPr>
          <p:cNvPr id="45" name="Textfeld 7">
            <a:extLst>
              <a:ext uri="{FF2B5EF4-FFF2-40B4-BE49-F238E27FC236}">
                <a16:creationId xmlns:a16="http://schemas.microsoft.com/office/drawing/2014/main" id="{96A557C2-0B21-184E-AEEA-2A02271D30A5}"/>
              </a:ext>
            </a:extLst>
          </p:cNvPr>
          <p:cNvSpPr txBox="1"/>
          <p:nvPr/>
        </p:nvSpPr>
        <p:spPr>
          <a:xfrm>
            <a:off x="5596282" y="4567281"/>
            <a:ext cx="1876617" cy="471072"/>
          </a:xfrm>
          <a:prstGeom prst="rect">
            <a:avLst/>
          </a:prstGeom>
          <a:solidFill>
            <a:schemeClr val="tx2"/>
          </a:solidFill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91438" tIns="45719" rIns="91438" bIns="45719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CA Metro" charset="0"/>
                <a:cs typeface="CA Metro" charset="0"/>
              </a:rPr>
              <a:t>METRO</a:t>
            </a:r>
          </a:p>
        </p:txBody>
      </p:sp>
      <p:sp>
        <p:nvSpPr>
          <p:cNvPr id="46" name="Textfeld 7">
            <a:extLst>
              <a:ext uri="{FF2B5EF4-FFF2-40B4-BE49-F238E27FC236}">
                <a16:creationId xmlns:a16="http://schemas.microsoft.com/office/drawing/2014/main" id="{96A557C2-0B21-184E-AEEA-2A02271D30A5}"/>
              </a:ext>
            </a:extLst>
          </p:cNvPr>
          <p:cNvSpPr txBox="1"/>
          <p:nvPr/>
        </p:nvSpPr>
        <p:spPr>
          <a:xfrm>
            <a:off x="8163216" y="4567281"/>
            <a:ext cx="1876617" cy="471072"/>
          </a:xfrm>
          <a:prstGeom prst="rect">
            <a:avLst/>
          </a:prstGeom>
          <a:solidFill>
            <a:srgbClr val="C4B000"/>
          </a:solidFill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91438" tIns="45719" rIns="91438" bIns="45719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CA Metro" charset="0"/>
                <a:cs typeface="CA Metro" charset="0"/>
              </a:rPr>
              <a:t>METRO Customer</a:t>
            </a:r>
          </a:p>
        </p:txBody>
      </p:sp>
      <p:sp>
        <p:nvSpPr>
          <p:cNvPr id="47" name="Textfeld 7">
            <a:extLst>
              <a:ext uri="{FF2B5EF4-FFF2-40B4-BE49-F238E27FC236}">
                <a16:creationId xmlns:a16="http://schemas.microsoft.com/office/drawing/2014/main" id="{96A557C2-0B21-184E-AEEA-2A02271D30A5}"/>
              </a:ext>
            </a:extLst>
          </p:cNvPr>
          <p:cNvSpPr txBox="1"/>
          <p:nvPr/>
        </p:nvSpPr>
        <p:spPr>
          <a:xfrm>
            <a:off x="3029349" y="5115625"/>
            <a:ext cx="1876617" cy="471072"/>
          </a:xfrm>
          <a:prstGeom prst="rect">
            <a:avLst/>
          </a:prstGeom>
          <a:solidFill>
            <a:srgbClr val="00B6DE"/>
          </a:solidFill>
          <a:ln w="76200">
            <a:solidFill>
              <a:schemeClr val="bg1">
                <a:lumMod val="85000"/>
              </a:schemeClr>
            </a:solidFill>
          </a:ln>
        </p:spPr>
        <p:txBody>
          <a:bodyPr wrap="square" lIns="91438" tIns="45719" rIns="91438" bIns="45719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CA Metro" charset="0"/>
                <a:cs typeface="CA Metro" charset="0"/>
              </a:rPr>
              <a:t>Marketplace Seller</a:t>
            </a:r>
          </a:p>
        </p:txBody>
      </p:sp>
      <p:cxnSp>
        <p:nvCxnSpPr>
          <p:cNvPr id="51" name="Gewinkelte Verbindung 50"/>
          <p:cNvCxnSpPr>
            <a:stCxn id="45" idx="3"/>
            <a:endCxn id="46" idx="1"/>
          </p:cNvCxnSpPr>
          <p:nvPr/>
        </p:nvCxnSpPr>
        <p:spPr>
          <a:xfrm>
            <a:off x="7472899" y="4802817"/>
            <a:ext cx="690316" cy="0"/>
          </a:xfrm>
          <a:prstGeom prst="straightConnector1">
            <a:avLst/>
          </a:prstGeom>
          <a:ln w="28575">
            <a:solidFill>
              <a:srgbClr val="FF8200"/>
            </a:solidFill>
            <a:prstDash val="solid"/>
            <a:headEnd type="triangle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winkelte Verbindung 47"/>
          <p:cNvCxnSpPr>
            <a:stCxn id="43" idx="3"/>
            <a:endCxn id="45" idx="1"/>
          </p:cNvCxnSpPr>
          <p:nvPr/>
        </p:nvCxnSpPr>
        <p:spPr>
          <a:xfrm>
            <a:off x="3432209" y="4254473"/>
            <a:ext cx="2164072" cy="548344"/>
          </a:xfrm>
          <a:prstGeom prst="bentConnector3">
            <a:avLst>
              <a:gd name="adj1" fmla="val 50000"/>
            </a:avLst>
          </a:prstGeom>
          <a:ln w="28575">
            <a:solidFill>
              <a:srgbClr val="FF8200"/>
            </a:solidFill>
            <a:prstDash val="solid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winkelte Verbindung 48"/>
          <p:cNvCxnSpPr>
            <a:stCxn id="44" idx="3"/>
            <a:endCxn id="45" idx="1"/>
          </p:cNvCxnSpPr>
          <p:nvPr/>
        </p:nvCxnSpPr>
        <p:spPr>
          <a:xfrm>
            <a:off x="4095785" y="4802817"/>
            <a:ext cx="1500496" cy="0"/>
          </a:xfrm>
          <a:prstGeom prst="straightConnector1">
            <a:avLst/>
          </a:prstGeom>
          <a:ln w="28575">
            <a:solidFill>
              <a:srgbClr val="FF8200"/>
            </a:solidFill>
            <a:prstDash val="solid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winkelte Verbindung 49"/>
          <p:cNvCxnSpPr>
            <a:stCxn id="47" idx="3"/>
            <a:endCxn id="45" idx="1"/>
          </p:cNvCxnSpPr>
          <p:nvPr/>
        </p:nvCxnSpPr>
        <p:spPr>
          <a:xfrm flipV="1">
            <a:off x="4905966" y="4802817"/>
            <a:ext cx="690316" cy="548344"/>
          </a:xfrm>
          <a:prstGeom prst="bentConnector3">
            <a:avLst/>
          </a:prstGeom>
          <a:ln w="28575">
            <a:solidFill>
              <a:srgbClr val="FF8200"/>
            </a:solidFill>
            <a:prstDash val="solid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>
            <a:endCxn id="45" idx="0"/>
          </p:cNvCxnSpPr>
          <p:nvPr/>
        </p:nvCxnSpPr>
        <p:spPr>
          <a:xfrm>
            <a:off x="6534591" y="3941665"/>
            <a:ext cx="0" cy="625616"/>
          </a:xfrm>
          <a:prstGeom prst="straightConnector1">
            <a:avLst/>
          </a:prstGeom>
          <a:ln w="28575">
            <a:solidFill>
              <a:srgbClr val="454545"/>
            </a:solidFill>
            <a:prstDash val="solid"/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winkelte Verbindung 56"/>
          <p:cNvCxnSpPr>
            <a:stCxn id="43" idx="0"/>
          </p:cNvCxnSpPr>
          <p:nvPr/>
        </p:nvCxnSpPr>
        <p:spPr>
          <a:xfrm rot="5400000" flipH="1" flipV="1">
            <a:off x="3888687" y="2311345"/>
            <a:ext cx="312808" cy="3102380"/>
          </a:xfrm>
          <a:prstGeom prst="bentConnector2">
            <a:avLst/>
          </a:prstGeom>
          <a:ln w="28575">
            <a:solidFill>
              <a:srgbClr val="FF8200"/>
            </a:solidFill>
            <a:prstDash val="solid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winkelte Verbindung 57"/>
          <p:cNvCxnSpPr>
            <a:stCxn id="43" idx="1"/>
            <a:endCxn id="44" idx="1"/>
          </p:cNvCxnSpPr>
          <p:nvPr/>
        </p:nvCxnSpPr>
        <p:spPr>
          <a:xfrm rot="10800000" flipH="1" flipV="1">
            <a:off x="1555592" y="4254473"/>
            <a:ext cx="663576" cy="548344"/>
          </a:xfrm>
          <a:prstGeom prst="bentConnector3">
            <a:avLst>
              <a:gd name="adj1" fmla="val -45933"/>
            </a:avLst>
          </a:prstGeom>
          <a:ln w="28575">
            <a:solidFill>
              <a:srgbClr val="FF8200">
                <a:alpha val="69804"/>
              </a:srgbClr>
            </a:solidFill>
            <a:prstDash val="sysDot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winkelte Verbindung 58"/>
          <p:cNvCxnSpPr>
            <a:stCxn id="43" idx="1"/>
            <a:endCxn id="47" idx="1"/>
          </p:cNvCxnSpPr>
          <p:nvPr/>
        </p:nvCxnSpPr>
        <p:spPr>
          <a:xfrm rot="10800000" flipH="1" flipV="1">
            <a:off x="1555591" y="4254473"/>
            <a:ext cx="1473756" cy="1096688"/>
          </a:xfrm>
          <a:prstGeom prst="bentConnector3">
            <a:avLst>
              <a:gd name="adj1" fmla="val -20682"/>
            </a:avLst>
          </a:prstGeom>
          <a:ln w="28575">
            <a:solidFill>
              <a:srgbClr val="FF8200">
                <a:alpha val="40000"/>
              </a:srgbClr>
            </a:solidFill>
            <a:prstDash val="sysDot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/>
          <p:cNvCxnSpPr/>
          <p:nvPr/>
        </p:nvCxnSpPr>
        <p:spPr>
          <a:xfrm>
            <a:off x="7885648" y="5849812"/>
            <a:ext cx="192000" cy="0"/>
          </a:xfrm>
          <a:prstGeom prst="straightConnector1">
            <a:avLst/>
          </a:prstGeom>
          <a:ln w="19050">
            <a:solidFill>
              <a:srgbClr val="FF8200">
                <a:alpha val="69804"/>
              </a:srgbClr>
            </a:solidFill>
            <a:prstDash val="sysDot"/>
            <a:headEnd w="sm" len="sm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/>
          <p:cNvCxnSpPr/>
          <p:nvPr/>
        </p:nvCxnSpPr>
        <p:spPr>
          <a:xfrm>
            <a:off x="7646363" y="5849812"/>
            <a:ext cx="192000" cy="0"/>
          </a:xfrm>
          <a:prstGeom prst="straightConnector1">
            <a:avLst/>
          </a:prstGeom>
          <a:ln w="19050">
            <a:solidFill>
              <a:srgbClr val="FF8200">
                <a:alpha val="40000"/>
              </a:srgbClr>
            </a:solidFill>
            <a:prstDash val="sysDot"/>
            <a:headEnd w="sm" len="sm"/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afik 15">
            <a:extLst>
              <a:ext uri="{FF2B5EF4-FFF2-40B4-BE49-F238E27FC236}">
                <a16:creationId xmlns:a16="http://schemas.microsoft.com/office/drawing/2014/main" id="{FDB46278-1CAD-9CE3-E30A-DFEB93BAE238}"/>
              </a:ext>
            </a:extLst>
          </p:cNvPr>
          <p:cNvGrpSpPr/>
          <p:nvPr/>
        </p:nvGrpSpPr>
        <p:grpSpPr>
          <a:xfrm>
            <a:off x="10072323" y="6421064"/>
            <a:ext cx="1734581" cy="289940"/>
            <a:chOff x="10072323" y="6421064"/>
            <a:chExt cx="1734581" cy="289940"/>
          </a:xfrm>
        </p:grpSpPr>
        <p:grpSp>
          <p:nvGrpSpPr>
            <p:cNvPr id="3" name="Grafik 15">
              <a:extLst>
                <a:ext uri="{FF2B5EF4-FFF2-40B4-BE49-F238E27FC236}">
                  <a16:creationId xmlns:a16="http://schemas.microsoft.com/office/drawing/2014/main" id="{83089C68-9745-F016-C23E-66CF9DD468ED}"/>
                </a:ext>
              </a:extLst>
            </p:cNvPr>
            <p:cNvGrpSpPr/>
            <p:nvPr/>
          </p:nvGrpSpPr>
          <p:grpSpPr>
            <a:xfrm>
              <a:off x="10596697" y="6421064"/>
              <a:ext cx="1210207" cy="289940"/>
              <a:chOff x="10596697" y="6421064"/>
              <a:chExt cx="1210207" cy="289940"/>
            </a:xfrm>
            <a:solidFill>
              <a:srgbClr val="1C3E76"/>
            </a:solidFill>
          </p:grpSpPr>
          <p:sp>
            <p:nvSpPr>
              <p:cNvPr id="13" name="Freihandform 37">
                <a:extLst>
                  <a:ext uri="{FF2B5EF4-FFF2-40B4-BE49-F238E27FC236}">
                    <a16:creationId xmlns:a16="http://schemas.microsoft.com/office/drawing/2014/main" id="{D2EB18C4-B40E-BD21-BBF8-7B110A752CC6}"/>
                  </a:ext>
                </a:extLst>
              </p:cNvPr>
              <p:cNvSpPr/>
              <p:nvPr/>
            </p:nvSpPr>
            <p:spPr>
              <a:xfrm>
                <a:off x="11515316" y="6421064"/>
                <a:ext cx="291589" cy="132671"/>
              </a:xfrm>
              <a:custGeom>
                <a:avLst/>
                <a:gdLst>
                  <a:gd name="connsiteX0" fmla="*/ 145762 w 291589"/>
                  <a:gd name="connsiteY0" fmla="*/ 74254 h 132671"/>
                  <a:gd name="connsiteX1" fmla="*/ 215475 w 291589"/>
                  <a:gd name="connsiteY1" fmla="*/ 130038 h 132671"/>
                  <a:gd name="connsiteX2" fmla="*/ 219277 w 291589"/>
                  <a:gd name="connsiteY2" fmla="*/ 132668 h 132671"/>
                  <a:gd name="connsiteX3" fmla="*/ 287785 w 291589"/>
                  <a:gd name="connsiteY3" fmla="*/ 132668 h 132671"/>
                  <a:gd name="connsiteX4" fmla="*/ 291588 w 291589"/>
                  <a:gd name="connsiteY4" fmla="*/ 129287 h 132671"/>
                  <a:gd name="connsiteX5" fmla="*/ 145762 w 291589"/>
                  <a:gd name="connsiteY5" fmla="*/ 0 h 132671"/>
                  <a:gd name="connsiteX6" fmla="*/ 0 w 291589"/>
                  <a:gd name="connsiteY6" fmla="*/ 129287 h 132671"/>
                  <a:gd name="connsiteX7" fmla="*/ 3486 w 291589"/>
                  <a:gd name="connsiteY7" fmla="*/ 132668 h 132671"/>
                  <a:gd name="connsiteX8" fmla="*/ 72057 w 291589"/>
                  <a:gd name="connsiteY8" fmla="*/ 132668 h 132671"/>
                  <a:gd name="connsiteX9" fmla="*/ 75479 w 291589"/>
                  <a:gd name="connsiteY9" fmla="*/ 130038 h 132671"/>
                  <a:gd name="connsiteX10" fmla="*/ 145192 w 291589"/>
                  <a:gd name="connsiteY10" fmla="*/ 74254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589" h="132671">
                    <a:moveTo>
                      <a:pt x="145762" y="74254"/>
                    </a:moveTo>
                    <a:cubicBezTo>
                      <a:pt x="179408" y="74290"/>
                      <a:pt x="208453" y="97534"/>
                      <a:pt x="215475" y="130038"/>
                    </a:cubicBezTo>
                    <a:cubicBezTo>
                      <a:pt x="215988" y="131666"/>
                      <a:pt x="217553" y="132746"/>
                      <a:pt x="219277" y="132668"/>
                    </a:cubicBezTo>
                    <a:lnTo>
                      <a:pt x="287785" y="132668"/>
                    </a:lnTo>
                    <a:cubicBezTo>
                      <a:pt x="289756" y="132708"/>
                      <a:pt x="291423" y="131228"/>
                      <a:pt x="291588" y="129287"/>
                    </a:cubicBezTo>
                    <a:cubicBezTo>
                      <a:pt x="291841" y="100174"/>
                      <a:pt x="258569" y="0"/>
                      <a:pt x="145762" y="0"/>
                    </a:cubicBezTo>
                    <a:cubicBezTo>
                      <a:pt x="32955" y="0"/>
                      <a:pt x="0" y="100174"/>
                      <a:pt x="0" y="129287"/>
                    </a:cubicBezTo>
                    <a:cubicBezTo>
                      <a:pt x="32" y="131164"/>
                      <a:pt x="1584" y="132668"/>
                      <a:pt x="3486" y="132668"/>
                    </a:cubicBezTo>
                    <a:lnTo>
                      <a:pt x="72057" y="132668"/>
                    </a:lnTo>
                    <a:cubicBezTo>
                      <a:pt x="73654" y="132620"/>
                      <a:pt x="75042" y="131557"/>
                      <a:pt x="75479" y="130038"/>
                    </a:cubicBezTo>
                    <a:cubicBezTo>
                      <a:pt x="82628" y="97613"/>
                      <a:pt x="111603" y="74431"/>
                      <a:pt x="145192" y="74254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4" name="Freihandform 38">
                <a:extLst>
                  <a:ext uri="{FF2B5EF4-FFF2-40B4-BE49-F238E27FC236}">
                    <a16:creationId xmlns:a16="http://schemas.microsoft.com/office/drawing/2014/main" id="{916CC164-BAA0-253A-D811-B08A856A1A31}"/>
                  </a:ext>
                </a:extLst>
              </p:cNvPr>
              <p:cNvSpPr/>
              <p:nvPr/>
            </p:nvSpPr>
            <p:spPr>
              <a:xfrm>
                <a:off x="11515061" y="6578333"/>
                <a:ext cx="291842" cy="132671"/>
              </a:xfrm>
              <a:custGeom>
                <a:avLst/>
                <a:gdLst>
                  <a:gd name="connsiteX0" fmla="*/ 146016 w 291842"/>
                  <a:gd name="connsiteY0" fmla="*/ 58418 h 132671"/>
                  <a:gd name="connsiteX1" fmla="*/ 215729 w 291842"/>
                  <a:gd name="connsiteY1" fmla="*/ 3072 h 132671"/>
                  <a:gd name="connsiteX2" fmla="*/ 219531 w 291842"/>
                  <a:gd name="connsiteY2" fmla="*/ 4 h 132671"/>
                  <a:gd name="connsiteX3" fmla="*/ 288040 w 291842"/>
                  <a:gd name="connsiteY3" fmla="*/ 4 h 132671"/>
                  <a:gd name="connsiteX4" fmla="*/ 291842 w 291842"/>
                  <a:gd name="connsiteY4" fmla="*/ 3823 h 132671"/>
                  <a:gd name="connsiteX5" fmla="*/ 145763 w 291842"/>
                  <a:gd name="connsiteY5" fmla="*/ 132672 h 132671"/>
                  <a:gd name="connsiteX6" fmla="*/ 1 w 291842"/>
                  <a:gd name="connsiteY6" fmla="*/ 3823 h 132671"/>
                  <a:gd name="connsiteX7" fmla="*/ 3486 w 291842"/>
                  <a:gd name="connsiteY7" fmla="*/ 4 h 132671"/>
                  <a:gd name="connsiteX8" fmla="*/ 72311 w 291842"/>
                  <a:gd name="connsiteY8" fmla="*/ 4 h 132671"/>
                  <a:gd name="connsiteX9" fmla="*/ 75734 w 291842"/>
                  <a:gd name="connsiteY9" fmla="*/ 3072 h 132671"/>
                  <a:gd name="connsiteX10" fmla="*/ 145446 w 291842"/>
                  <a:gd name="connsiteY10" fmla="*/ 58418 h 1326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842" h="132671">
                    <a:moveTo>
                      <a:pt x="146016" y="58418"/>
                    </a:moveTo>
                    <a:cubicBezTo>
                      <a:pt x="179567" y="58546"/>
                      <a:pt x="208637" y="35469"/>
                      <a:pt x="215729" y="3072"/>
                    </a:cubicBezTo>
                    <a:cubicBezTo>
                      <a:pt x="216020" y="1240"/>
                      <a:pt x="217655" y="-82"/>
                      <a:pt x="219531" y="4"/>
                    </a:cubicBezTo>
                    <a:lnTo>
                      <a:pt x="288040" y="4"/>
                    </a:lnTo>
                    <a:cubicBezTo>
                      <a:pt x="290099" y="157"/>
                      <a:pt x="291722" y="1789"/>
                      <a:pt x="291842" y="3823"/>
                    </a:cubicBezTo>
                    <a:cubicBezTo>
                      <a:pt x="291842" y="32999"/>
                      <a:pt x="258570" y="132672"/>
                      <a:pt x="145763" y="132672"/>
                    </a:cubicBezTo>
                    <a:cubicBezTo>
                      <a:pt x="32956" y="132672"/>
                      <a:pt x="1" y="32999"/>
                      <a:pt x="1" y="3823"/>
                    </a:cubicBezTo>
                    <a:cubicBezTo>
                      <a:pt x="-37" y="1841"/>
                      <a:pt x="1484" y="169"/>
                      <a:pt x="3486" y="4"/>
                    </a:cubicBezTo>
                    <a:lnTo>
                      <a:pt x="72311" y="4"/>
                    </a:lnTo>
                    <a:cubicBezTo>
                      <a:pt x="74054" y="78"/>
                      <a:pt x="75493" y="1368"/>
                      <a:pt x="75734" y="3072"/>
                    </a:cubicBezTo>
                    <a:cubicBezTo>
                      <a:pt x="82933" y="35402"/>
                      <a:pt x="111940" y="58427"/>
                      <a:pt x="145446" y="58418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5" name="Freihandform 39">
                <a:extLst>
                  <a:ext uri="{FF2B5EF4-FFF2-40B4-BE49-F238E27FC236}">
                    <a16:creationId xmlns:a16="http://schemas.microsoft.com/office/drawing/2014/main" id="{03758DAA-FED0-D0D2-0CD9-7915C0697B0E}"/>
                  </a:ext>
                </a:extLst>
              </p:cNvPr>
              <p:cNvSpPr/>
              <p:nvPr/>
            </p:nvSpPr>
            <p:spPr>
              <a:xfrm>
                <a:off x="10911036" y="6518858"/>
                <a:ext cx="77697" cy="186886"/>
              </a:xfrm>
              <a:custGeom>
                <a:avLst/>
                <a:gdLst>
                  <a:gd name="connsiteX0" fmla="*/ 77634 w 77697"/>
                  <a:gd name="connsiteY0" fmla="*/ 183443 h 186886"/>
                  <a:gd name="connsiteX1" fmla="*/ 74275 w 77697"/>
                  <a:gd name="connsiteY1" fmla="*/ 186886 h 186886"/>
                  <a:gd name="connsiteX2" fmla="*/ 74212 w 77697"/>
                  <a:gd name="connsiteY2" fmla="*/ 186887 h 186886"/>
                  <a:gd name="connsiteX3" fmla="*/ 3422 w 77697"/>
                  <a:gd name="connsiteY3" fmla="*/ 186887 h 186886"/>
                  <a:gd name="connsiteX4" fmla="*/ 0 w 77697"/>
                  <a:gd name="connsiteY4" fmla="*/ 183507 h 186886"/>
                  <a:gd name="connsiteX5" fmla="*/ 0 w 77697"/>
                  <a:gd name="connsiteY5" fmla="*/ 183443 h 186886"/>
                  <a:gd name="connsiteX6" fmla="*/ 0 w 77697"/>
                  <a:gd name="connsiteY6" fmla="*/ 3381 h 186886"/>
                  <a:gd name="connsiteX7" fmla="*/ 3422 w 77697"/>
                  <a:gd name="connsiteY7" fmla="*/ 0 h 186886"/>
                  <a:gd name="connsiteX8" fmla="*/ 74275 w 77697"/>
                  <a:gd name="connsiteY8" fmla="*/ 0 h 186886"/>
                  <a:gd name="connsiteX9" fmla="*/ 77698 w 77697"/>
                  <a:gd name="connsiteY9" fmla="*/ 3381 h 186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97" h="186886">
                    <a:moveTo>
                      <a:pt x="77634" y="183443"/>
                    </a:moveTo>
                    <a:cubicBezTo>
                      <a:pt x="77672" y="185310"/>
                      <a:pt x="76164" y="186852"/>
                      <a:pt x="74275" y="186886"/>
                    </a:cubicBezTo>
                    <a:cubicBezTo>
                      <a:pt x="74256" y="186887"/>
                      <a:pt x="74231" y="186887"/>
                      <a:pt x="74212" y="186887"/>
                    </a:cubicBezTo>
                    <a:lnTo>
                      <a:pt x="3422" y="186887"/>
                    </a:lnTo>
                    <a:cubicBezTo>
                      <a:pt x="1534" y="186888"/>
                      <a:pt x="0" y="185374"/>
                      <a:pt x="0" y="183507"/>
                    </a:cubicBezTo>
                    <a:cubicBezTo>
                      <a:pt x="0" y="183485"/>
                      <a:pt x="0" y="183465"/>
                      <a:pt x="0" y="183443"/>
                    </a:cubicBezTo>
                    <a:lnTo>
                      <a:pt x="0" y="3381"/>
                    </a:lnTo>
                    <a:cubicBezTo>
                      <a:pt x="0" y="1514"/>
                      <a:pt x="1534" y="0"/>
                      <a:pt x="3422" y="0"/>
                    </a:cubicBezTo>
                    <a:lnTo>
                      <a:pt x="74275" y="0"/>
                    </a:lnTo>
                    <a:cubicBezTo>
                      <a:pt x="76164" y="0"/>
                      <a:pt x="77698" y="1514"/>
                      <a:pt x="77698" y="338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6" name="Freihandform 40">
                <a:extLst>
                  <a:ext uri="{FF2B5EF4-FFF2-40B4-BE49-F238E27FC236}">
                    <a16:creationId xmlns:a16="http://schemas.microsoft.com/office/drawing/2014/main" id="{1724032F-06D2-65B7-B245-D860E2DFB0FC}"/>
                  </a:ext>
                </a:extLst>
              </p:cNvPr>
              <p:cNvSpPr/>
              <p:nvPr/>
            </p:nvSpPr>
            <p:spPr>
              <a:xfrm>
                <a:off x="10823452" y="6426323"/>
                <a:ext cx="253182" cy="67930"/>
              </a:xfrm>
              <a:custGeom>
                <a:avLst/>
                <a:gdLst>
                  <a:gd name="connsiteX0" fmla="*/ 3422 w 253182"/>
                  <a:gd name="connsiteY0" fmla="*/ 67930 h 67930"/>
                  <a:gd name="connsiteX1" fmla="*/ 0 w 253182"/>
                  <a:gd name="connsiteY1" fmla="*/ 64487 h 67930"/>
                  <a:gd name="connsiteX2" fmla="*/ 0 w 253182"/>
                  <a:gd name="connsiteY2" fmla="*/ 3443 h 67930"/>
                  <a:gd name="connsiteX3" fmla="*/ 3422 w 253182"/>
                  <a:gd name="connsiteY3" fmla="*/ 0 h 67930"/>
                  <a:gd name="connsiteX4" fmla="*/ 249697 w 253182"/>
                  <a:gd name="connsiteY4" fmla="*/ 0 h 67930"/>
                  <a:gd name="connsiteX5" fmla="*/ 253183 w 253182"/>
                  <a:gd name="connsiteY5" fmla="*/ 3443 h 67930"/>
                  <a:gd name="connsiteX6" fmla="*/ 253183 w 253182"/>
                  <a:gd name="connsiteY6" fmla="*/ 64487 h 67930"/>
                  <a:gd name="connsiteX7" fmla="*/ 249697 w 253182"/>
                  <a:gd name="connsiteY7" fmla="*/ 67930 h 67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3182" h="67930">
                    <a:moveTo>
                      <a:pt x="3422" y="67930"/>
                    </a:moveTo>
                    <a:cubicBezTo>
                      <a:pt x="1521" y="67896"/>
                      <a:pt x="0" y="66365"/>
                      <a:pt x="0" y="64487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249697" y="0"/>
                    </a:lnTo>
                    <a:cubicBezTo>
                      <a:pt x="251624" y="0"/>
                      <a:pt x="253183" y="1542"/>
                      <a:pt x="253183" y="3443"/>
                    </a:cubicBezTo>
                    <a:lnTo>
                      <a:pt x="253183" y="64487"/>
                    </a:lnTo>
                    <a:cubicBezTo>
                      <a:pt x="253183" y="66389"/>
                      <a:pt x="251624" y="67930"/>
                      <a:pt x="249697" y="67930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7" name="Freihandform 41">
                <a:extLst>
                  <a:ext uri="{FF2B5EF4-FFF2-40B4-BE49-F238E27FC236}">
                    <a16:creationId xmlns:a16="http://schemas.microsoft.com/office/drawing/2014/main" id="{433A2D19-4A7E-4027-DDE8-F17C097717A6}"/>
                  </a:ext>
                </a:extLst>
              </p:cNvPr>
              <p:cNvSpPr/>
              <p:nvPr/>
            </p:nvSpPr>
            <p:spPr>
              <a:xfrm>
                <a:off x="10596697" y="6535512"/>
                <a:ext cx="110525" cy="61044"/>
              </a:xfrm>
              <a:custGeom>
                <a:avLst/>
                <a:gdLst>
                  <a:gd name="connsiteX0" fmla="*/ 3803 w 110525"/>
                  <a:gd name="connsiteY0" fmla="*/ 60856 h 61044"/>
                  <a:gd name="connsiteX1" fmla="*/ 0 w 110525"/>
                  <a:gd name="connsiteY1" fmla="*/ 57475 h 61044"/>
                  <a:gd name="connsiteX2" fmla="*/ 0 w 110525"/>
                  <a:gd name="connsiteY2" fmla="*/ 3443 h 61044"/>
                  <a:gd name="connsiteX3" fmla="*/ 3803 w 110525"/>
                  <a:gd name="connsiteY3" fmla="*/ 0 h 61044"/>
                  <a:gd name="connsiteX4" fmla="*/ 107040 w 110525"/>
                  <a:gd name="connsiteY4" fmla="*/ 0 h 61044"/>
                  <a:gd name="connsiteX5" fmla="*/ 110526 w 110525"/>
                  <a:gd name="connsiteY5" fmla="*/ 3443 h 61044"/>
                  <a:gd name="connsiteX6" fmla="*/ 110526 w 110525"/>
                  <a:gd name="connsiteY6" fmla="*/ 57663 h 61044"/>
                  <a:gd name="connsiteX7" fmla="*/ 107104 w 110525"/>
                  <a:gd name="connsiteY7" fmla="*/ 61044 h 61044"/>
                  <a:gd name="connsiteX8" fmla="*/ 107040 w 110525"/>
                  <a:gd name="connsiteY8" fmla="*/ 61044 h 6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0525" h="61044">
                    <a:moveTo>
                      <a:pt x="3803" y="60856"/>
                    </a:moveTo>
                    <a:cubicBezTo>
                      <a:pt x="1831" y="60896"/>
                      <a:pt x="167" y="59416"/>
                      <a:pt x="0" y="57475"/>
                    </a:cubicBezTo>
                    <a:lnTo>
                      <a:pt x="0" y="3443"/>
                    </a:lnTo>
                    <a:cubicBezTo>
                      <a:pt x="165" y="1492"/>
                      <a:pt x="1820" y="-7"/>
                      <a:pt x="3803" y="0"/>
                    </a:cubicBezTo>
                    <a:lnTo>
                      <a:pt x="107040" y="0"/>
                    </a:lnTo>
                    <a:cubicBezTo>
                      <a:pt x="108966" y="0"/>
                      <a:pt x="110526" y="1541"/>
                      <a:pt x="110526" y="3443"/>
                    </a:cubicBezTo>
                    <a:lnTo>
                      <a:pt x="110526" y="57663"/>
                    </a:lnTo>
                    <a:cubicBezTo>
                      <a:pt x="110526" y="59530"/>
                      <a:pt x="108994" y="61044"/>
                      <a:pt x="107104" y="61044"/>
                    </a:cubicBezTo>
                    <a:cubicBezTo>
                      <a:pt x="107083" y="61044"/>
                      <a:pt x="107062" y="61044"/>
                      <a:pt x="107040" y="61044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5" name="Grafik 15">
              <a:extLst>
                <a:ext uri="{FF2B5EF4-FFF2-40B4-BE49-F238E27FC236}">
                  <a16:creationId xmlns:a16="http://schemas.microsoft.com/office/drawing/2014/main" id="{52ADFC13-6045-AF7E-BBB8-D6245B2D3334}"/>
                </a:ext>
              </a:extLst>
            </p:cNvPr>
            <p:cNvGrpSpPr/>
            <p:nvPr/>
          </p:nvGrpSpPr>
          <p:grpSpPr>
            <a:xfrm>
              <a:off x="10072323" y="6423505"/>
              <a:ext cx="650934" cy="282741"/>
              <a:chOff x="10072323" y="6423505"/>
              <a:chExt cx="650934" cy="282741"/>
            </a:xfrm>
            <a:solidFill>
              <a:srgbClr val="1C3E76"/>
            </a:solidFill>
          </p:grpSpPr>
          <p:sp>
            <p:nvSpPr>
              <p:cNvPr id="11" name="Freihandform 35">
                <a:extLst>
                  <a:ext uri="{FF2B5EF4-FFF2-40B4-BE49-F238E27FC236}">
                    <a16:creationId xmlns:a16="http://schemas.microsoft.com/office/drawing/2014/main" id="{FDC547FA-B3D8-47D1-D793-D91D5D201B44}"/>
                  </a:ext>
                </a:extLst>
              </p:cNvPr>
              <p:cNvSpPr/>
              <p:nvPr/>
            </p:nvSpPr>
            <p:spPr>
              <a:xfrm>
                <a:off x="10494600" y="6426323"/>
                <a:ext cx="228657" cy="279422"/>
              </a:xfrm>
              <a:custGeom>
                <a:avLst/>
                <a:gdLst>
                  <a:gd name="connsiteX0" fmla="*/ 225235 w 228657"/>
                  <a:gd name="connsiteY0" fmla="*/ 211555 h 279422"/>
                  <a:gd name="connsiteX1" fmla="*/ 77571 w 228657"/>
                  <a:gd name="connsiteY1" fmla="*/ 211555 h 279422"/>
                  <a:gd name="connsiteX2" fmla="*/ 77571 w 228657"/>
                  <a:gd name="connsiteY2" fmla="*/ 67930 h 279422"/>
                  <a:gd name="connsiteX3" fmla="*/ 223334 w 228657"/>
                  <a:gd name="connsiteY3" fmla="*/ 67930 h 279422"/>
                  <a:gd name="connsiteX4" fmla="*/ 226756 w 228657"/>
                  <a:gd name="connsiteY4" fmla="*/ 64487 h 279422"/>
                  <a:gd name="connsiteX5" fmla="*/ 226756 w 228657"/>
                  <a:gd name="connsiteY5" fmla="*/ 3443 h 279422"/>
                  <a:gd name="connsiteX6" fmla="*/ 223334 w 228657"/>
                  <a:gd name="connsiteY6" fmla="*/ 0 h 279422"/>
                  <a:gd name="connsiteX7" fmla="*/ 3423 w 228657"/>
                  <a:gd name="connsiteY7" fmla="*/ 0 h 279422"/>
                  <a:gd name="connsiteX8" fmla="*/ 1 w 228657"/>
                  <a:gd name="connsiteY8" fmla="*/ 3443 h 279422"/>
                  <a:gd name="connsiteX9" fmla="*/ 1 w 228657"/>
                  <a:gd name="connsiteY9" fmla="*/ 275979 h 279422"/>
                  <a:gd name="connsiteX10" fmla="*/ 3359 w 228657"/>
                  <a:gd name="connsiteY10" fmla="*/ 279422 h 279422"/>
                  <a:gd name="connsiteX11" fmla="*/ 3423 w 228657"/>
                  <a:gd name="connsiteY11" fmla="*/ 279423 h 279422"/>
                  <a:gd name="connsiteX12" fmla="*/ 225235 w 228657"/>
                  <a:gd name="connsiteY12" fmla="*/ 279423 h 279422"/>
                  <a:gd name="connsiteX13" fmla="*/ 228657 w 228657"/>
                  <a:gd name="connsiteY13" fmla="*/ 276042 h 279422"/>
                  <a:gd name="connsiteX14" fmla="*/ 228657 w 228657"/>
                  <a:gd name="connsiteY14" fmla="*/ 275979 h 279422"/>
                  <a:gd name="connsiteX15" fmla="*/ 228657 w 228657"/>
                  <a:gd name="connsiteY15" fmla="*/ 214998 h 279422"/>
                  <a:gd name="connsiteX16" fmla="*/ 225298 w 228657"/>
                  <a:gd name="connsiteY16" fmla="*/ 211555 h 279422"/>
                  <a:gd name="connsiteX17" fmla="*/ 225235 w 228657"/>
                  <a:gd name="connsiteY17" fmla="*/ 211555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8657" h="279422">
                    <a:moveTo>
                      <a:pt x="225235" y="211555"/>
                    </a:moveTo>
                    <a:lnTo>
                      <a:pt x="77571" y="211555"/>
                    </a:lnTo>
                    <a:lnTo>
                      <a:pt x="77571" y="67930"/>
                    </a:lnTo>
                    <a:lnTo>
                      <a:pt x="223334" y="67930"/>
                    </a:lnTo>
                    <a:cubicBezTo>
                      <a:pt x="225235" y="67896"/>
                      <a:pt x="226756" y="66365"/>
                      <a:pt x="226756" y="64487"/>
                    </a:cubicBezTo>
                    <a:lnTo>
                      <a:pt x="226756" y="3443"/>
                    </a:lnTo>
                    <a:cubicBezTo>
                      <a:pt x="226756" y="1566"/>
                      <a:pt x="225235" y="34"/>
                      <a:pt x="223334" y="0"/>
                    </a:cubicBezTo>
                    <a:lnTo>
                      <a:pt x="3423" y="0"/>
                    </a:lnTo>
                    <a:cubicBezTo>
                      <a:pt x="1523" y="34"/>
                      <a:pt x="1" y="1566"/>
                      <a:pt x="1" y="3443"/>
                    </a:cubicBezTo>
                    <a:lnTo>
                      <a:pt x="1" y="275979"/>
                    </a:lnTo>
                    <a:cubicBezTo>
                      <a:pt x="-34" y="277846"/>
                      <a:pt x="1469" y="279388"/>
                      <a:pt x="3359" y="279422"/>
                    </a:cubicBezTo>
                    <a:cubicBezTo>
                      <a:pt x="3380" y="279423"/>
                      <a:pt x="3401" y="279423"/>
                      <a:pt x="3423" y="279423"/>
                    </a:cubicBezTo>
                    <a:lnTo>
                      <a:pt x="225235" y="279423"/>
                    </a:lnTo>
                    <a:cubicBezTo>
                      <a:pt x="227123" y="279423"/>
                      <a:pt x="228657" y="277909"/>
                      <a:pt x="228657" y="276042"/>
                    </a:cubicBezTo>
                    <a:cubicBezTo>
                      <a:pt x="228657" y="276021"/>
                      <a:pt x="228657" y="276000"/>
                      <a:pt x="228657" y="275979"/>
                    </a:cubicBezTo>
                    <a:lnTo>
                      <a:pt x="228657" y="214998"/>
                    </a:lnTo>
                    <a:cubicBezTo>
                      <a:pt x="228695" y="213131"/>
                      <a:pt x="227187" y="211590"/>
                      <a:pt x="225298" y="211555"/>
                    </a:cubicBezTo>
                    <a:cubicBezTo>
                      <a:pt x="225279" y="211555"/>
                      <a:pt x="225254" y="211555"/>
                      <a:pt x="225235" y="211555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2" name="Freihandform 36">
                <a:extLst>
                  <a:ext uri="{FF2B5EF4-FFF2-40B4-BE49-F238E27FC236}">
                    <a16:creationId xmlns:a16="http://schemas.microsoft.com/office/drawing/2014/main" id="{2ACF3461-099A-4DF3-19DE-9185A28E4CC5}"/>
                  </a:ext>
                </a:extLst>
              </p:cNvPr>
              <p:cNvSpPr/>
              <p:nvPr/>
            </p:nvSpPr>
            <p:spPr>
              <a:xfrm>
                <a:off x="10072323" y="6423505"/>
                <a:ext cx="300153" cy="282741"/>
              </a:xfrm>
              <a:custGeom>
                <a:avLst/>
                <a:gdLst>
                  <a:gd name="connsiteX0" fmla="*/ 299837 w 300153"/>
                  <a:gd name="connsiteY0" fmla="*/ 3819 h 282741"/>
                  <a:gd name="connsiteX1" fmla="*/ 298253 w 300153"/>
                  <a:gd name="connsiteY1" fmla="*/ 563 h 282741"/>
                  <a:gd name="connsiteX2" fmla="*/ 294830 w 300153"/>
                  <a:gd name="connsiteY2" fmla="*/ 563 h 282741"/>
                  <a:gd name="connsiteX3" fmla="*/ 149955 w 300153"/>
                  <a:gd name="connsiteY3" fmla="*/ 87777 h 282741"/>
                  <a:gd name="connsiteX4" fmla="*/ 5714 w 300153"/>
                  <a:gd name="connsiteY4" fmla="*/ 563 h 282741"/>
                  <a:gd name="connsiteX5" fmla="*/ 1912 w 300153"/>
                  <a:gd name="connsiteY5" fmla="*/ 563 h 282741"/>
                  <a:gd name="connsiteX6" fmla="*/ 11 w 300153"/>
                  <a:gd name="connsiteY6" fmla="*/ 3819 h 282741"/>
                  <a:gd name="connsiteX7" fmla="*/ 11 w 300153"/>
                  <a:gd name="connsiteY7" fmla="*/ 279297 h 282741"/>
                  <a:gd name="connsiteX8" fmla="*/ 3369 w 300153"/>
                  <a:gd name="connsiteY8" fmla="*/ 282740 h 282741"/>
                  <a:gd name="connsiteX9" fmla="*/ 3433 w 300153"/>
                  <a:gd name="connsiteY9" fmla="*/ 282741 h 282741"/>
                  <a:gd name="connsiteX10" fmla="*/ 74222 w 300153"/>
                  <a:gd name="connsiteY10" fmla="*/ 282741 h 282741"/>
                  <a:gd name="connsiteX11" fmla="*/ 78025 w 300153"/>
                  <a:gd name="connsiteY11" fmla="*/ 279297 h 282741"/>
                  <a:gd name="connsiteX12" fmla="*/ 78025 w 300153"/>
                  <a:gd name="connsiteY12" fmla="*/ 127597 h 282741"/>
                  <a:gd name="connsiteX13" fmla="*/ 146470 w 300153"/>
                  <a:gd name="connsiteY13" fmla="*/ 168480 h 282741"/>
                  <a:gd name="connsiteX14" fmla="*/ 149955 w 300153"/>
                  <a:gd name="connsiteY14" fmla="*/ 169670 h 282741"/>
                  <a:gd name="connsiteX15" fmla="*/ 153378 w 300153"/>
                  <a:gd name="connsiteY15" fmla="*/ 168480 h 282741"/>
                  <a:gd name="connsiteX16" fmla="*/ 298253 w 300153"/>
                  <a:gd name="connsiteY16" fmla="*/ 82831 h 282741"/>
                  <a:gd name="connsiteX17" fmla="*/ 300154 w 300153"/>
                  <a:gd name="connsiteY17" fmla="*/ 78323 h 28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00153" h="282741">
                    <a:moveTo>
                      <a:pt x="299837" y="3819"/>
                    </a:moveTo>
                    <a:cubicBezTo>
                      <a:pt x="300006" y="2520"/>
                      <a:pt x="299384" y="1245"/>
                      <a:pt x="298253" y="563"/>
                    </a:cubicBezTo>
                    <a:cubicBezTo>
                      <a:pt x="297239" y="-188"/>
                      <a:pt x="295844" y="-188"/>
                      <a:pt x="294830" y="563"/>
                    </a:cubicBezTo>
                    <a:lnTo>
                      <a:pt x="149955" y="87777"/>
                    </a:lnTo>
                    <a:lnTo>
                      <a:pt x="5714" y="563"/>
                    </a:lnTo>
                    <a:cubicBezTo>
                      <a:pt x="4558" y="-180"/>
                      <a:pt x="3068" y="-180"/>
                      <a:pt x="1912" y="563"/>
                    </a:cubicBezTo>
                    <a:cubicBezTo>
                      <a:pt x="657" y="1155"/>
                      <a:pt x="-99" y="2450"/>
                      <a:pt x="11" y="3819"/>
                    </a:cubicBezTo>
                    <a:lnTo>
                      <a:pt x="11" y="279297"/>
                    </a:lnTo>
                    <a:cubicBezTo>
                      <a:pt x="-24" y="281164"/>
                      <a:pt x="1479" y="282706"/>
                      <a:pt x="3369" y="282740"/>
                    </a:cubicBezTo>
                    <a:cubicBezTo>
                      <a:pt x="3390" y="282741"/>
                      <a:pt x="3411" y="282741"/>
                      <a:pt x="3433" y="282741"/>
                    </a:cubicBezTo>
                    <a:lnTo>
                      <a:pt x="74222" y="282741"/>
                    </a:lnTo>
                    <a:cubicBezTo>
                      <a:pt x="76217" y="282779"/>
                      <a:pt x="77890" y="281263"/>
                      <a:pt x="78025" y="279297"/>
                    </a:cubicBezTo>
                    <a:lnTo>
                      <a:pt x="78025" y="127597"/>
                    </a:lnTo>
                    <a:lnTo>
                      <a:pt x="146470" y="168480"/>
                    </a:lnTo>
                    <a:cubicBezTo>
                      <a:pt x="147524" y="169136"/>
                      <a:pt x="148716" y="169542"/>
                      <a:pt x="149955" y="169670"/>
                    </a:cubicBezTo>
                    <a:cubicBezTo>
                      <a:pt x="151172" y="169533"/>
                      <a:pt x="152343" y="169127"/>
                      <a:pt x="153378" y="168480"/>
                    </a:cubicBezTo>
                    <a:cubicBezTo>
                      <a:pt x="153378" y="168480"/>
                      <a:pt x="297175" y="83207"/>
                      <a:pt x="298253" y="82831"/>
                    </a:cubicBezTo>
                    <a:cubicBezTo>
                      <a:pt x="300154" y="81704"/>
                      <a:pt x="300154" y="80953"/>
                      <a:pt x="300154" y="7832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  <p:grpSp>
          <p:nvGrpSpPr>
            <p:cNvPr id="6" name="Grafik 15">
              <a:extLst>
                <a:ext uri="{FF2B5EF4-FFF2-40B4-BE49-F238E27FC236}">
                  <a16:creationId xmlns:a16="http://schemas.microsoft.com/office/drawing/2014/main" id="{2EE58648-1B31-B2F3-2E4E-A9FA4C7AA61B}"/>
                </a:ext>
              </a:extLst>
            </p:cNvPr>
            <p:cNvGrpSpPr/>
            <p:nvPr/>
          </p:nvGrpSpPr>
          <p:grpSpPr>
            <a:xfrm>
              <a:off x="10294715" y="6426317"/>
              <a:ext cx="1126171" cy="279452"/>
              <a:chOff x="10294715" y="6426317"/>
              <a:chExt cx="1126171" cy="279452"/>
            </a:xfrm>
          </p:grpSpPr>
          <p:sp>
            <p:nvSpPr>
              <p:cNvPr id="7" name="Freihandform 31">
                <a:extLst>
                  <a:ext uri="{FF2B5EF4-FFF2-40B4-BE49-F238E27FC236}">
                    <a16:creationId xmlns:a16="http://schemas.microsoft.com/office/drawing/2014/main" id="{23FB6E71-9053-C33D-4579-F1DC3A03FA74}"/>
                  </a:ext>
                </a:extLst>
              </p:cNvPr>
              <p:cNvSpPr/>
              <p:nvPr/>
            </p:nvSpPr>
            <p:spPr>
              <a:xfrm>
                <a:off x="10294715" y="6536604"/>
                <a:ext cx="77445" cy="169079"/>
              </a:xfrm>
              <a:custGeom>
                <a:avLst/>
                <a:gdLst>
                  <a:gd name="connsiteX0" fmla="*/ 75860 w 77445"/>
                  <a:gd name="connsiteY0" fmla="*/ 473 h 169079"/>
                  <a:gd name="connsiteX1" fmla="*/ 72438 w 77445"/>
                  <a:gd name="connsiteY1" fmla="*/ 473 h 169079"/>
                  <a:gd name="connsiteX2" fmla="*/ 2726 w 77445"/>
                  <a:gd name="connsiteY2" fmla="*/ 41732 h 169079"/>
                  <a:gd name="connsiteX3" fmla="*/ 1 w 77445"/>
                  <a:gd name="connsiteY3" fmla="*/ 46679 h 169079"/>
                  <a:gd name="connsiteX4" fmla="*/ 1 w 77445"/>
                  <a:gd name="connsiteY4" fmla="*/ 165635 h 169079"/>
                  <a:gd name="connsiteX5" fmla="*/ 3358 w 77445"/>
                  <a:gd name="connsiteY5" fmla="*/ 169079 h 169079"/>
                  <a:gd name="connsiteX6" fmla="*/ 3486 w 77445"/>
                  <a:gd name="connsiteY6" fmla="*/ 169079 h 169079"/>
                  <a:gd name="connsiteX7" fmla="*/ 74023 w 77445"/>
                  <a:gd name="connsiteY7" fmla="*/ 169079 h 169079"/>
                  <a:gd name="connsiteX8" fmla="*/ 77445 w 77445"/>
                  <a:gd name="connsiteY8" fmla="*/ 165698 h 169079"/>
                  <a:gd name="connsiteX9" fmla="*/ 77445 w 77445"/>
                  <a:gd name="connsiteY9" fmla="*/ 165635 h 169079"/>
                  <a:gd name="connsiteX10" fmla="*/ 77445 w 77445"/>
                  <a:gd name="connsiteY10" fmla="*/ 3416 h 169079"/>
                  <a:gd name="connsiteX11" fmla="*/ 75544 w 77445"/>
                  <a:gd name="connsiteY11" fmla="*/ 411 h 1690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445" h="169079">
                    <a:moveTo>
                      <a:pt x="75860" y="473"/>
                    </a:moveTo>
                    <a:cubicBezTo>
                      <a:pt x="74809" y="-158"/>
                      <a:pt x="73490" y="-158"/>
                      <a:pt x="72438" y="473"/>
                    </a:cubicBezTo>
                    <a:lnTo>
                      <a:pt x="2726" y="41732"/>
                    </a:lnTo>
                    <a:cubicBezTo>
                      <a:pt x="761" y="42546"/>
                      <a:pt x="1" y="43611"/>
                      <a:pt x="1" y="46679"/>
                    </a:cubicBezTo>
                    <a:lnTo>
                      <a:pt x="1" y="165635"/>
                    </a:lnTo>
                    <a:cubicBezTo>
                      <a:pt x="-35" y="167502"/>
                      <a:pt x="1468" y="169043"/>
                      <a:pt x="3358" y="169079"/>
                    </a:cubicBezTo>
                    <a:cubicBezTo>
                      <a:pt x="3401" y="169079"/>
                      <a:pt x="3444" y="169079"/>
                      <a:pt x="3486" y="169079"/>
                    </a:cubicBezTo>
                    <a:lnTo>
                      <a:pt x="74023" y="169079"/>
                    </a:lnTo>
                    <a:cubicBezTo>
                      <a:pt x="75912" y="169079"/>
                      <a:pt x="77445" y="167565"/>
                      <a:pt x="77445" y="165698"/>
                    </a:cubicBezTo>
                    <a:cubicBezTo>
                      <a:pt x="77445" y="165677"/>
                      <a:pt x="77445" y="165656"/>
                      <a:pt x="77445" y="165635"/>
                    </a:cubicBezTo>
                    <a:lnTo>
                      <a:pt x="77445" y="3416"/>
                    </a:lnTo>
                    <a:cubicBezTo>
                      <a:pt x="77348" y="2167"/>
                      <a:pt x="76638" y="1044"/>
                      <a:pt x="75544" y="411"/>
                    </a:cubicBezTo>
                  </a:path>
                </a:pathLst>
              </a:custGeom>
              <a:solidFill>
                <a:srgbClr val="F7AE02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8" name="Freihandform 32">
                <a:extLst>
                  <a:ext uri="{FF2B5EF4-FFF2-40B4-BE49-F238E27FC236}">
                    <a16:creationId xmlns:a16="http://schemas.microsoft.com/office/drawing/2014/main" id="{96F3C7E2-CE7E-B30F-F3ED-85075A988A34}"/>
                  </a:ext>
                </a:extLst>
              </p:cNvPr>
              <p:cNvSpPr/>
              <p:nvPr/>
            </p:nvSpPr>
            <p:spPr>
              <a:xfrm>
                <a:off x="11171116" y="6426317"/>
                <a:ext cx="77469" cy="279437"/>
              </a:xfrm>
              <a:custGeom>
                <a:avLst/>
                <a:gdLst>
                  <a:gd name="connsiteX0" fmla="*/ 74032 w 77469"/>
                  <a:gd name="connsiteY0" fmla="*/ 6 h 279437"/>
                  <a:gd name="connsiteX1" fmla="*/ 3813 w 77469"/>
                  <a:gd name="connsiteY1" fmla="*/ 6 h 279437"/>
                  <a:gd name="connsiteX2" fmla="*/ 4 w 77469"/>
                  <a:gd name="connsiteY2" fmla="*/ 3372 h 279437"/>
                  <a:gd name="connsiteX3" fmla="*/ 11 w 77469"/>
                  <a:gd name="connsiteY3" fmla="*/ 3825 h 279437"/>
                  <a:gd name="connsiteX4" fmla="*/ 11 w 77469"/>
                  <a:gd name="connsiteY4" fmla="*/ 275985 h 279437"/>
                  <a:gd name="connsiteX5" fmla="*/ 3617 w 77469"/>
                  <a:gd name="connsiteY5" fmla="*/ 279437 h 279437"/>
                  <a:gd name="connsiteX6" fmla="*/ 3813 w 77469"/>
                  <a:gd name="connsiteY6" fmla="*/ 279428 h 279437"/>
                  <a:gd name="connsiteX7" fmla="*/ 74032 w 77469"/>
                  <a:gd name="connsiteY7" fmla="*/ 279428 h 279437"/>
                  <a:gd name="connsiteX8" fmla="*/ 77455 w 77469"/>
                  <a:gd name="connsiteY8" fmla="*/ 276048 h 279437"/>
                  <a:gd name="connsiteX9" fmla="*/ 77455 w 77469"/>
                  <a:gd name="connsiteY9" fmla="*/ 275985 h 279437"/>
                  <a:gd name="connsiteX10" fmla="*/ 77455 w 77469"/>
                  <a:gd name="connsiteY10" fmla="*/ 3825 h 279437"/>
                  <a:gd name="connsiteX11" fmla="*/ 74242 w 77469"/>
                  <a:gd name="connsiteY11" fmla="*/ 18 h 279437"/>
                  <a:gd name="connsiteX12" fmla="*/ 74032 w 77469"/>
                  <a:gd name="connsiteY12" fmla="*/ 6 h 279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469" h="279437">
                    <a:moveTo>
                      <a:pt x="74032" y="6"/>
                    </a:moveTo>
                    <a:lnTo>
                      <a:pt x="3813" y="6"/>
                    </a:lnTo>
                    <a:cubicBezTo>
                      <a:pt x="1823" y="-103"/>
                      <a:pt x="118" y="1404"/>
                      <a:pt x="4" y="3372"/>
                    </a:cubicBezTo>
                    <a:cubicBezTo>
                      <a:pt x="-2" y="3523"/>
                      <a:pt x="-2" y="3674"/>
                      <a:pt x="11" y="3825"/>
                    </a:cubicBezTo>
                    <a:lnTo>
                      <a:pt x="11" y="275985"/>
                    </a:lnTo>
                    <a:cubicBezTo>
                      <a:pt x="42" y="277921"/>
                      <a:pt x="1652" y="279466"/>
                      <a:pt x="3617" y="279437"/>
                    </a:cubicBezTo>
                    <a:cubicBezTo>
                      <a:pt x="3680" y="279436"/>
                      <a:pt x="3750" y="279433"/>
                      <a:pt x="3813" y="279428"/>
                    </a:cubicBezTo>
                    <a:lnTo>
                      <a:pt x="74032" y="279428"/>
                    </a:lnTo>
                    <a:cubicBezTo>
                      <a:pt x="75921" y="279429"/>
                      <a:pt x="77455" y="277915"/>
                      <a:pt x="77455" y="276048"/>
                    </a:cubicBezTo>
                    <a:cubicBezTo>
                      <a:pt x="77455" y="276027"/>
                      <a:pt x="77455" y="276006"/>
                      <a:pt x="77455" y="275985"/>
                    </a:cubicBezTo>
                    <a:lnTo>
                      <a:pt x="77455" y="3825"/>
                    </a:lnTo>
                    <a:cubicBezTo>
                      <a:pt x="77632" y="1896"/>
                      <a:pt x="76194" y="192"/>
                      <a:pt x="74242" y="18"/>
                    </a:cubicBezTo>
                    <a:cubicBezTo>
                      <a:pt x="74172" y="12"/>
                      <a:pt x="74102" y="8"/>
                      <a:pt x="74032" y="6"/>
                    </a:cubicBezTo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9" name="Freihandform 33">
                <a:extLst>
                  <a:ext uri="{FF2B5EF4-FFF2-40B4-BE49-F238E27FC236}">
                    <a16:creationId xmlns:a16="http://schemas.microsoft.com/office/drawing/2014/main" id="{ECDD9CD2-229C-B1A6-6943-3B5282D29224}"/>
                  </a:ext>
                </a:extLst>
              </p:cNvPr>
              <p:cNvSpPr/>
              <p:nvPr/>
            </p:nvSpPr>
            <p:spPr>
              <a:xfrm>
                <a:off x="11171127" y="6426323"/>
                <a:ext cx="77634" cy="279422"/>
              </a:xfrm>
              <a:custGeom>
                <a:avLst/>
                <a:gdLst>
                  <a:gd name="connsiteX0" fmla="*/ 77634 w 77634"/>
                  <a:gd name="connsiteY0" fmla="*/ 275979 h 279422"/>
                  <a:gd name="connsiteX1" fmla="*/ 74275 w 77634"/>
                  <a:gd name="connsiteY1" fmla="*/ 279422 h 279422"/>
                  <a:gd name="connsiteX2" fmla="*/ 74212 w 77634"/>
                  <a:gd name="connsiteY2" fmla="*/ 279423 h 279422"/>
                  <a:gd name="connsiteX3" fmla="*/ 3422 w 77634"/>
                  <a:gd name="connsiteY3" fmla="*/ 279423 h 279422"/>
                  <a:gd name="connsiteX4" fmla="*/ 0 w 77634"/>
                  <a:gd name="connsiteY4" fmla="*/ 276042 h 279422"/>
                  <a:gd name="connsiteX5" fmla="*/ 0 w 77634"/>
                  <a:gd name="connsiteY5" fmla="*/ 275979 h 279422"/>
                  <a:gd name="connsiteX6" fmla="*/ 0 w 77634"/>
                  <a:gd name="connsiteY6" fmla="*/ 3443 h 279422"/>
                  <a:gd name="connsiteX7" fmla="*/ 3422 w 77634"/>
                  <a:gd name="connsiteY7" fmla="*/ 0 h 279422"/>
                  <a:gd name="connsiteX8" fmla="*/ 74022 w 77634"/>
                  <a:gd name="connsiteY8" fmla="*/ 0 h 279422"/>
                  <a:gd name="connsiteX9" fmla="*/ 77444 w 77634"/>
                  <a:gd name="connsiteY9" fmla="*/ 3443 h 27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634" h="279422">
                    <a:moveTo>
                      <a:pt x="77634" y="275979"/>
                    </a:moveTo>
                    <a:cubicBezTo>
                      <a:pt x="77672" y="277846"/>
                      <a:pt x="76164" y="279388"/>
                      <a:pt x="74275" y="279422"/>
                    </a:cubicBezTo>
                    <a:cubicBezTo>
                      <a:pt x="74256" y="279423"/>
                      <a:pt x="74231" y="279423"/>
                      <a:pt x="74212" y="279423"/>
                    </a:cubicBezTo>
                    <a:lnTo>
                      <a:pt x="3422" y="279423"/>
                    </a:lnTo>
                    <a:cubicBezTo>
                      <a:pt x="1534" y="279423"/>
                      <a:pt x="0" y="277909"/>
                      <a:pt x="0" y="276042"/>
                    </a:cubicBezTo>
                    <a:cubicBezTo>
                      <a:pt x="0" y="276021"/>
                      <a:pt x="0" y="276000"/>
                      <a:pt x="0" y="275979"/>
                    </a:cubicBezTo>
                    <a:lnTo>
                      <a:pt x="0" y="3443"/>
                    </a:lnTo>
                    <a:cubicBezTo>
                      <a:pt x="0" y="1566"/>
                      <a:pt x="1521" y="34"/>
                      <a:pt x="3422" y="0"/>
                    </a:cubicBezTo>
                    <a:lnTo>
                      <a:pt x="74022" y="0"/>
                    </a:lnTo>
                    <a:cubicBezTo>
                      <a:pt x="75923" y="34"/>
                      <a:pt x="77444" y="1566"/>
                      <a:pt x="77444" y="3443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  <p:sp>
            <p:nvSpPr>
              <p:cNvPr id="10" name="Freihandform 34">
                <a:extLst>
                  <a:ext uri="{FF2B5EF4-FFF2-40B4-BE49-F238E27FC236}">
                    <a16:creationId xmlns:a16="http://schemas.microsoft.com/office/drawing/2014/main" id="{336BEC7B-F51B-71C2-BE9E-0271AE463644}"/>
                  </a:ext>
                </a:extLst>
              </p:cNvPr>
              <p:cNvSpPr/>
              <p:nvPr/>
            </p:nvSpPr>
            <p:spPr>
              <a:xfrm>
                <a:off x="11273944" y="6426323"/>
                <a:ext cx="146943" cy="279446"/>
              </a:xfrm>
              <a:custGeom>
                <a:avLst/>
                <a:gdLst>
                  <a:gd name="connsiteX0" fmla="*/ 80780 w 146943"/>
                  <a:gd name="connsiteY0" fmla="*/ 182567 h 279446"/>
                  <a:gd name="connsiteX1" fmla="*/ 146943 w 146943"/>
                  <a:gd name="connsiteY1" fmla="*/ 94226 h 279446"/>
                  <a:gd name="connsiteX2" fmla="*/ 17659 w 146943"/>
                  <a:gd name="connsiteY2" fmla="*/ 0 h 279446"/>
                  <a:gd name="connsiteX3" fmla="*/ 3526 w 146943"/>
                  <a:gd name="connsiteY3" fmla="*/ 0 h 279446"/>
                  <a:gd name="connsiteX4" fmla="*/ 41 w 146943"/>
                  <a:gd name="connsiteY4" fmla="*/ 3443 h 279446"/>
                  <a:gd name="connsiteX5" fmla="*/ 41 w 146943"/>
                  <a:gd name="connsiteY5" fmla="*/ 64487 h 279446"/>
                  <a:gd name="connsiteX6" fmla="*/ 3526 w 146943"/>
                  <a:gd name="connsiteY6" fmla="*/ 67930 h 279446"/>
                  <a:gd name="connsiteX7" fmla="*/ 26024 w 146943"/>
                  <a:gd name="connsiteY7" fmla="*/ 67930 h 279446"/>
                  <a:gd name="connsiteX8" fmla="*/ 68485 w 146943"/>
                  <a:gd name="connsiteY8" fmla="*/ 101614 h 279446"/>
                  <a:gd name="connsiteX9" fmla="*/ 26468 w 146943"/>
                  <a:gd name="connsiteY9" fmla="*/ 134984 h 279446"/>
                  <a:gd name="connsiteX10" fmla="*/ 3526 w 146943"/>
                  <a:gd name="connsiteY10" fmla="*/ 134984 h 279446"/>
                  <a:gd name="connsiteX11" fmla="*/ 41 w 146943"/>
                  <a:gd name="connsiteY11" fmla="*/ 138365 h 279446"/>
                  <a:gd name="connsiteX12" fmla="*/ 41 w 146943"/>
                  <a:gd name="connsiteY12" fmla="*/ 191833 h 279446"/>
                  <a:gd name="connsiteX13" fmla="*/ 1625 w 146943"/>
                  <a:gd name="connsiteY13" fmla="*/ 197155 h 279446"/>
                  <a:gd name="connsiteX14" fmla="*/ 56254 w 146943"/>
                  <a:gd name="connsiteY14" fmla="*/ 277920 h 279446"/>
                  <a:gd name="connsiteX15" fmla="*/ 59359 w 146943"/>
                  <a:gd name="connsiteY15" fmla="*/ 279423 h 279446"/>
                  <a:gd name="connsiteX16" fmla="*/ 140796 w 146943"/>
                  <a:gd name="connsiteY16" fmla="*/ 279423 h 279446"/>
                  <a:gd name="connsiteX17" fmla="*/ 144282 w 146943"/>
                  <a:gd name="connsiteY17" fmla="*/ 277544 h 279446"/>
                  <a:gd name="connsiteX18" fmla="*/ 143838 w 146943"/>
                  <a:gd name="connsiteY18" fmla="*/ 274101 h 279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6943" h="279446">
                    <a:moveTo>
                      <a:pt x="80780" y="182567"/>
                    </a:moveTo>
                    <a:cubicBezTo>
                      <a:pt x="80780" y="182567"/>
                      <a:pt x="146943" y="163784"/>
                      <a:pt x="146943" y="94226"/>
                    </a:cubicBezTo>
                    <a:cubicBezTo>
                      <a:pt x="146943" y="0"/>
                      <a:pt x="55494" y="0"/>
                      <a:pt x="17659" y="0"/>
                    </a:cubicBezTo>
                    <a:lnTo>
                      <a:pt x="3526" y="0"/>
                    </a:lnTo>
                    <a:cubicBezTo>
                      <a:pt x="1600" y="0"/>
                      <a:pt x="41" y="1542"/>
                      <a:pt x="41" y="3443"/>
                    </a:cubicBezTo>
                    <a:lnTo>
                      <a:pt x="41" y="64487"/>
                    </a:lnTo>
                    <a:cubicBezTo>
                      <a:pt x="41" y="66389"/>
                      <a:pt x="1600" y="67930"/>
                      <a:pt x="3526" y="67930"/>
                    </a:cubicBezTo>
                    <a:lnTo>
                      <a:pt x="26024" y="67930"/>
                    </a:lnTo>
                    <a:cubicBezTo>
                      <a:pt x="36798" y="67930"/>
                      <a:pt x="68485" y="69809"/>
                      <a:pt x="68485" y="101614"/>
                    </a:cubicBezTo>
                    <a:cubicBezTo>
                      <a:pt x="68485" y="133419"/>
                      <a:pt x="35657" y="134984"/>
                      <a:pt x="26468" y="134984"/>
                    </a:cubicBezTo>
                    <a:lnTo>
                      <a:pt x="3526" y="134984"/>
                    </a:lnTo>
                    <a:cubicBezTo>
                      <a:pt x="1625" y="134984"/>
                      <a:pt x="72" y="136488"/>
                      <a:pt x="41" y="138365"/>
                    </a:cubicBezTo>
                    <a:lnTo>
                      <a:pt x="41" y="191833"/>
                    </a:lnTo>
                    <a:cubicBezTo>
                      <a:pt x="-162" y="193744"/>
                      <a:pt x="402" y="195658"/>
                      <a:pt x="1625" y="197155"/>
                    </a:cubicBezTo>
                    <a:lnTo>
                      <a:pt x="56254" y="277920"/>
                    </a:lnTo>
                    <a:cubicBezTo>
                      <a:pt x="56964" y="278910"/>
                      <a:pt x="58130" y="279475"/>
                      <a:pt x="59359" y="279423"/>
                    </a:cubicBezTo>
                    <a:lnTo>
                      <a:pt x="140796" y="279423"/>
                    </a:lnTo>
                    <a:cubicBezTo>
                      <a:pt x="142247" y="279594"/>
                      <a:pt x="143642" y="278840"/>
                      <a:pt x="144282" y="277544"/>
                    </a:cubicBezTo>
                    <a:cubicBezTo>
                      <a:pt x="144681" y="276390"/>
                      <a:pt x="144516" y="275120"/>
                      <a:pt x="143838" y="274101"/>
                    </a:cubicBezTo>
                    <a:close/>
                  </a:path>
                </a:pathLst>
              </a:custGeom>
              <a:solidFill>
                <a:srgbClr val="1C3E76"/>
              </a:solidFill>
              <a:ln w="63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312337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heme/theme1.xml><?xml version="1.0" encoding="utf-8"?>
<a:theme xmlns:a="http://schemas.openxmlformats.org/drawingml/2006/main" name="Office">
  <a:themeElements>
    <a:clrScheme name="Metro_2">
      <a:dk1>
        <a:srgbClr val="000000"/>
      </a:dk1>
      <a:lt1>
        <a:srgbClr val="FFFFFF"/>
      </a:lt1>
      <a:dk2>
        <a:srgbClr val="003B7E"/>
      </a:dk2>
      <a:lt2>
        <a:srgbClr val="EEECE1"/>
      </a:lt2>
      <a:accent1>
        <a:srgbClr val="003B7E"/>
      </a:accent1>
      <a:accent2>
        <a:srgbClr val="F9AE00"/>
      </a:accent2>
      <a:accent3>
        <a:srgbClr val="1961AC"/>
      </a:accent3>
      <a:accent4>
        <a:srgbClr val="70AEDF"/>
      </a:accent4>
      <a:accent5>
        <a:srgbClr val="FDCA53"/>
      </a:accent5>
      <a:accent6>
        <a:srgbClr val="F28E00"/>
      </a:accent6>
      <a:hlink>
        <a:srgbClr val="000000"/>
      </a:hlink>
      <a:folHlink>
        <a:srgbClr val="800080"/>
      </a:folHlink>
    </a:clrScheme>
    <a:fontScheme name="METRO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3_METRO PPT Master_EN.pptx" id="{31B4476B-5EDD-49B8-9774-A3A4063D13E7}" vid="{6802AB81-C3EE-4608-9B06-18D0FFCC7A9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E1B5A7DE5E1147839349C15DE8D28A" ma:contentTypeVersion="5" ma:contentTypeDescription="Create a new document." ma:contentTypeScope="" ma:versionID="cee546266b186751dc5c0206aa6f4f84">
  <xsd:schema xmlns:xsd="http://www.w3.org/2001/XMLSchema" xmlns:xs="http://www.w3.org/2001/XMLSchema" xmlns:p="http://schemas.microsoft.com/office/2006/metadata/properties" xmlns:ns2="04391dd9-6821-48ef-bf12-6a109f9e0503" xmlns:ns3="8a053670-2f62-4297-99da-7f41b86e5ef2" targetNamespace="http://schemas.microsoft.com/office/2006/metadata/properties" ma:root="true" ma:fieldsID="50b7eb0d05c5989cfbc347da0d34eaa0" ns2:_="" ns3:_="">
    <xsd:import namespace="04391dd9-6821-48ef-bf12-6a109f9e0503"/>
    <xsd:import namespace="8a053670-2f62-4297-99da-7f41b86e5ef2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391dd9-6821-48ef-bf12-6a109f9e050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053670-2f62-4297-99da-7f41b86e5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439E092-B594-47B8-A85A-E1900B39E6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391dd9-6821-48ef-bf12-6a109f9e0503"/>
    <ds:schemaRef ds:uri="8a053670-2f62-4297-99da-7f41b86e5e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EF57CC4-931F-4646-AE60-64FE983D3FB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B464D4-2CBE-48EF-83B2-BD5448FBBD4F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b16fa1bb-c520-4768-a212-beac21b9ceb0"/>
    <ds:schemaRef ds:uri="a8f289c5-7e7b-4bd9-b9f5-0491d018336a"/>
    <ds:schemaRef ds:uri="e6731551-e959-4236-a0a1-4f68a1d9b16a"/>
  </ds:schemaRefs>
</ds:datastoreItem>
</file>

<file path=docMetadata/LabelInfo.xml><?xml version="1.0" encoding="utf-8"?>
<clbl:labelList xmlns:clbl="http://schemas.microsoft.com/office/2020/mipLabelMetadata">
  <clbl:label id="{01c1476e-3236-4add-9655-bdfbec32e949}" enabled="1" method="Standard" siteId="{64322308-09a9-47a3-8c1c-b82871d60568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3_METRO PPT Master_EN</Template>
  <TotalTime>0</TotalTime>
  <Words>672</Words>
  <Application>Microsoft Office PowerPoint</Application>
  <PresentationFormat>Breitbild</PresentationFormat>
  <Paragraphs>155</Paragraphs>
  <Slides>1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6</vt:i4>
      </vt:variant>
    </vt:vector>
  </HeadingPairs>
  <TitlesOfParts>
    <vt:vector size="25" baseType="lpstr">
      <vt:lpstr>Arial</vt:lpstr>
      <vt:lpstr>Calibri</vt:lpstr>
      <vt:lpstr>Symbol</vt:lpstr>
      <vt:lpstr>Trade Gothic Inline</vt:lpstr>
      <vt:lpstr>Verdana</vt:lpstr>
      <vt:lpstr>Wingdings</vt:lpstr>
      <vt:lpstr>Office</vt:lpstr>
      <vt:lpstr>think-cell Folie</vt:lpstr>
      <vt:lpstr>think-cell Slide</vt:lpstr>
      <vt:lpstr>Global standards and benefits of Verified by GS1 </vt:lpstr>
      <vt:lpstr>PowerPoint-Präsentation</vt:lpstr>
      <vt:lpstr>Trusted Data ?</vt:lpstr>
      <vt:lpstr>Metro GS1 global priorities</vt:lpstr>
      <vt:lpstr>PowerPoint-Präsentation</vt:lpstr>
      <vt:lpstr>PowerPoint-Präsentation</vt:lpstr>
      <vt:lpstr>Going through customs…</vt:lpstr>
      <vt:lpstr>VbG Data Out – Our Motivation</vt:lpstr>
      <vt:lpstr>Current METRO Use Cases</vt:lpstr>
      <vt:lpstr>Content is King</vt:lpstr>
      <vt:lpstr>Product examples @ VbG</vt:lpstr>
      <vt:lpstr>PowerPoint-Präsentation</vt:lpstr>
      <vt:lpstr>PowerPoint-Präsentation</vt:lpstr>
      <vt:lpstr>Global Data Model</vt:lpstr>
      <vt:lpstr>METRO 2D Journey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standards and benefits of verified by GS1 </dc:title>
  <dc:subject/>
  <dc:creator>Zaeske, Christian</dc:creator>
  <cp:keywords/>
  <dc:description/>
  <cp:lastModifiedBy>Zaeske, Christian</cp:lastModifiedBy>
  <cp:revision>3</cp:revision>
  <dcterms:created xsi:type="dcterms:W3CDTF">2023-10-06T10:47:17Z</dcterms:created>
  <dcterms:modified xsi:type="dcterms:W3CDTF">2023-10-06T12:47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E1B5A7DE5E1147839349C15DE8D28A</vt:lpwstr>
  </property>
  <property fmtid="{D5CDD505-2E9C-101B-9397-08002B2CF9AE}" pid="3" name="ValoBusinessArea">
    <vt:lpwstr>2;#METRO AG|cf4d034b-ff87-4b48-9b68-2fd0d6c607f6</vt:lpwstr>
  </property>
  <property fmtid="{D5CDD505-2E9C-101B-9397-08002B2CF9AE}" pid="4" name="ValoTags">
    <vt:lpwstr/>
  </property>
  <property fmtid="{D5CDD505-2E9C-101B-9397-08002B2CF9AE}" pid="5" name="ValoOfficeLocation">
    <vt:lpwstr/>
  </property>
</Properties>
</file>